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4762" r:id="rId1"/>
  </p:sldMasterIdLst>
  <p:notesMasterIdLst>
    <p:notesMasterId r:id="rId3"/>
  </p:notesMasterIdLst>
  <p:sldIdLst>
    <p:sldId id="274" r:id="rId2"/>
  </p:sldIdLst>
  <p:sldSz cx="7559675" cy="10691813"/>
  <p:notesSz cx="9926638" cy="6797675"/>
  <p:defaultTextStyle>
    <a:defPPr>
      <a:defRPr lang="de-DE"/>
    </a:defPPr>
    <a:lvl1pPr algn="l" rtl="0" fontAlgn="base">
      <a:lnSpc>
        <a:spcPts val="2600"/>
      </a:lnSpc>
      <a:spcBef>
        <a:spcPts val="1000"/>
      </a:spcBef>
      <a:spcAft>
        <a:spcPct val="0"/>
      </a:spcAft>
      <a:buClr>
        <a:schemeClr val="bg2"/>
      </a:buClr>
      <a:defRPr sz="20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ts val="2600"/>
      </a:lnSpc>
      <a:spcBef>
        <a:spcPts val="1000"/>
      </a:spcBef>
      <a:spcAft>
        <a:spcPct val="0"/>
      </a:spcAft>
      <a:buClr>
        <a:schemeClr val="bg2"/>
      </a:buClr>
      <a:defRPr sz="20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ts val="2600"/>
      </a:lnSpc>
      <a:spcBef>
        <a:spcPts val="1000"/>
      </a:spcBef>
      <a:spcAft>
        <a:spcPct val="0"/>
      </a:spcAft>
      <a:buClr>
        <a:schemeClr val="bg2"/>
      </a:buClr>
      <a:defRPr sz="20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ts val="2600"/>
      </a:lnSpc>
      <a:spcBef>
        <a:spcPts val="1000"/>
      </a:spcBef>
      <a:spcAft>
        <a:spcPct val="0"/>
      </a:spcAft>
      <a:buClr>
        <a:schemeClr val="bg2"/>
      </a:buClr>
      <a:defRPr sz="20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ts val="2600"/>
      </a:lnSpc>
      <a:spcBef>
        <a:spcPts val="1000"/>
      </a:spcBef>
      <a:spcAft>
        <a:spcPct val="0"/>
      </a:spcAft>
      <a:buClr>
        <a:schemeClr val="bg2"/>
      </a:buClr>
      <a:defRPr sz="20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0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0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0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0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pos="2381" userDrawn="1">
          <p15:clr>
            <a:srgbClr val="A4A3A4"/>
          </p15:clr>
        </p15:guide>
        <p15:guide id="7" orient="horz" pos="274" userDrawn="1">
          <p15:clr>
            <a:srgbClr val="A4A3A4"/>
          </p15:clr>
        </p15:guide>
        <p15:guide id="8" orient="horz" pos="3366">
          <p15:clr>
            <a:srgbClr val="A4A3A4"/>
          </p15:clr>
        </p15:guide>
        <p15:guide id="9" orient="horz" pos="745">
          <p15:clr>
            <a:srgbClr val="A4A3A4"/>
          </p15:clr>
        </p15:guide>
        <p15:guide id="10" orient="horz" pos="1288">
          <p15:clr>
            <a:srgbClr val="A4A3A4"/>
          </p15:clr>
        </p15:guide>
        <p15:guide id="11" orient="horz" pos="1437">
          <p15:clr>
            <a:srgbClr val="A4A3A4"/>
          </p15:clr>
        </p15:guide>
        <p15:guide id="12" orient="horz" pos="3515">
          <p15:clr>
            <a:srgbClr val="A4A3A4"/>
          </p15:clr>
        </p15:guide>
        <p15:guide id="13" orient="horz" pos="4517" userDrawn="1">
          <p15:clr>
            <a:srgbClr val="A4A3A4"/>
          </p15:clr>
        </p15:guide>
        <p15:guide id="15" orient="horz" pos="6157" userDrawn="1">
          <p15:clr>
            <a:srgbClr val="A4A3A4"/>
          </p15:clr>
        </p15:guide>
        <p15:guide id="16" orient="horz" pos="2973">
          <p15:clr>
            <a:srgbClr val="A4A3A4"/>
          </p15:clr>
        </p15:guide>
        <p15:guide id="17" pos="1771">
          <p15:clr>
            <a:srgbClr val="A4A3A4"/>
          </p15:clr>
        </p15:guide>
        <p15:guide id="18" pos="3101">
          <p15:clr>
            <a:srgbClr val="A4A3A4"/>
          </p15:clr>
        </p15:guide>
        <p15:guide id="19" pos="3211" userDrawn="1">
          <p15:clr>
            <a:srgbClr val="A4A3A4"/>
          </p15:clr>
        </p15:guide>
        <p15:guide id="20" pos="1662">
          <p15:clr>
            <a:srgbClr val="A4A3A4"/>
          </p15:clr>
        </p15:guide>
        <p15:guide id="21" pos="945">
          <p15:clr>
            <a:srgbClr val="A4A3A4"/>
          </p15:clr>
        </p15:guide>
        <p15:guide id="23" pos="1055">
          <p15:clr>
            <a:srgbClr val="A4A3A4"/>
          </p15:clr>
        </p15:guide>
        <p15:guide id="24" orient="horz" pos="6508">
          <p15:clr>
            <a:srgbClr val="A4A3A4"/>
          </p15:clr>
        </p15:guide>
        <p15:guide id="25" pos="340">
          <p15:clr>
            <a:srgbClr val="A4A3A4"/>
          </p15:clr>
        </p15:guide>
        <p15:guide id="26" orient="horz" pos="1320">
          <p15:clr>
            <a:srgbClr val="A4A3A4"/>
          </p15:clr>
        </p15:guide>
        <p15:guide id="27" orient="horz" pos="1553">
          <p15:clr>
            <a:srgbClr val="A4A3A4"/>
          </p15:clr>
        </p15:guide>
        <p15:guide id="28" orient="horz" pos="4409">
          <p15:clr>
            <a:srgbClr val="A4A3A4"/>
          </p15:clr>
        </p15:guide>
        <p15:guide id="29" orient="horz" pos="6161">
          <p15:clr>
            <a:srgbClr val="A4A3A4"/>
          </p15:clr>
        </p15:guide>
        <p15:guide id="30" orient="horz" pos="5680">
          <p15:clr>
            <a:srgbClr val="A4A3A4"/>
          </p15:clr>
        </p15:guide>
        <p15:guide id="31" orient="horz" pos="2985">
          <p15:clr>
            <a:srgbClr val="A4A3A4"/>
          </p15:clr>
        </p15:guide>
        <p15:guide id="32" pos="454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3" userDrawn="1">
          <p15:clr>
            <a:srgbClr val="A4A3A4"/>
          </p15:clr>
        </p15:guide>
        <p15:guide id="2" pos="3149" userDrawn="1">
          <p15:clr>
            <a:srgbClr val="A4A3A4"/>
          </p15:clr>
        </p15:guide>
        <p15:guide id="3" orient="horz" pos="2141">
          <p15:clr>
            <a:srgbClr val="A4A3A4"/>
          </p15:clr>
        </p15:guide>
        <p15:guide id="4" pos="312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B6F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0397" autoAdjust="0"/>
    <p:restoredTop sz="94660" autoAdjust="0"/>
  </p:normalViewPr>
  <p:slideViewPr>
    <p:cSldViewPr snapToGrid="0" showGuides="1">
      <p:cViewPr varScale="1">
        <p:scale>
          <a:sx n="69" d="100"/>
          <a:sy n="69" d="100"/>
        </p:scale>
        <p:origin x="1068" y="84"/>
      </p:cViewPr>
      <p:guideLst>
        <p:guide pos="2381"/>
        <p:guide orient="horz" pos="274"/>
        <p:guide orient="horz" pos="3366"/>
        <p:guide orient="horz" pos="745"/>
        <p:guide orient="horz" pos="1288"/>
        <p:guide orient="horz" pos="1437"/>
        <p:guide orient="horz" pos="3515"/>
        <p:guide orient="horz" pos="4517"/>
        <p:guide orient="horz" pos="6157"/>
        <p:guide orient="horz" pos="2973"/>
        <p:guide pos="1771"/>
        <p:guide pos="3101"/>
        <p:guide pos="3211"/>
        <p:guide pos="1662"/>
        <p:guide pos="945"/>
        <p:guide pos="1055"/>
        <p:guide orient="horz" pos="6508"/>
        <p:guide pos="340"/>
        <p:guide orient="horz" pos="1320"/>
        <p:guide orient="horz" pos="1553"/>
        <p:guide orient="horz" pos="4409"/>
        <p:guide orient="horz" pos="6161"/>
        <p:guide orient="horz" pos="5680"/>
        <p:guide orient="horz" pos="2985"/>
        <p:guide pos="4543"/>
      </p:guideLst>
    </p:cSldViewPr>
  </p:slideViewPr>
  <p:outlineViewPr>
    <p:cViewPr>
      <p:scale>
        <a:sx n="33" d="100"/>
        <a:sy n="33" d="100"/>
      </p:scale>
      <p:origin x="0" y="169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2163"/>
        <p:guide pos="3149"/>
        <p:guide orient="horz" pos="2141"/>
        <p:guide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0913" cy="339412"/>
          </a:xfrm>
          <a:prstGeom prst="rect">
            <a:avLst/>
          </a:prstGeom>
        </p:spPr>
        <p:txBody>
          <a:bodyPr vert="horz" lIns="90699" tIns="45350" rIns="90699" bIns="4535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573" y="0"/>
            <a:ext cx="4302489" cy="339412"/>
          </a:xfrm>
          <a:prstGeom prst="rect">
            <a:avLst/>
          </a:prstGeom>
        </p:spPr>
        <p:txBody>
          <a:bodyPr vert="horz" lIns="90699" tIns="45350" rIns="90699" bIns="45350" rtlCol="0"/>
          <a:lstStyle>
            <a:lvl1pPr algn="r">
              <a:defRPr sz="1200"/>
            </a:lvl1pPr>
          </a:lstStyle>
          <a:p>
            <a:fld id="{0DE5C796-4EFF-452D-80A8-BF63CEF8D184}" type="datetimeFigureOut">
              <a:rPr lang="de-AT" smtClean="0"/>
              <a:t>04.07.2019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062413" y="509588"/>
            <a:ext cx="1801812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699" tIns="45350" rIns="90699" bIns="4535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034" y="3229132"/>
            <a:ext cx="7942573" cy="3059425"/>
          </a:xfrm>
          <a:prstGeom prst="rect">
            <a:avLst/>
          </a:prstGeom>
        </p:spPr>
        <p:txBody>
          <a:bodyPr vert="horz" lIns="90699" tIns="45350" rIns="90699" bIns="4535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92"/>
            <a:ext cx="4300913" cy="339412"/>
          </a:xfrm>
          <a:prstGeom prst="rect">
            <a:avLst/>
          </a:prstGeom>
        </p:spPr>
        <p:txBody>
          <a:bodyPr vert="horz" lIns="90699" tIns="45350" rIns="90699" bIns="4535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573" y="6456692"/>
            <a:ext cx="4302489" cy="339412"/>
          </a:xfrm>
          <a:prstGeom prst="rect">
            <a:avLst/>
          </a:prstGeom>
        </p:spPr>
        <p:txBody>
          <a:bodyPr vert="horz" lIns="90699" tIns="45350" rIns="90699" bIns="45350" rtlCol="0" anchor="b"/>
          <a:lstStyle>
            <a:lvl1pPr algn="r">
              <a:defRPr sz="1200"/>
            </a:lvl1pPr>
          </a:lstStyle>
          <a:p>
            <a:fld id="{A361A865-0B62-44DC-BF35-0FB2532154D3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492840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3920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20"/>
          <p:cNvSpPr>
            <a:spLocks noGrp="1"/>
          </p:cNvSpPr>
          <p:nvPr>
            <p:ph type="pic" sz="quarter" idx="12"/>
          </p:nvPr>
        </p:nvSpPr>
        <p:spPr>
          <a:xfrm>
            <a:off x="2811464" y="5578475"/>
            <a:ext cx="2111374" cy="1592263"/>
          </a:xfrm>
          <a:prstGeom prst="rect">
            <a:avLst/>
          </a:prstGeom>
          <a:noFill/>
        </p:spPr>
        <p:txBody>
          <a:bodyPr anchor="ctr" anchorCtr="1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de-AT" dirty="0"/>
          </a:p>
        </p:txBody>
      </p:sp>
      <p:sp>
        <p:nvSpPr>
          <p:cNvPr id="19" name="Bildplatzhalter 24"/>
          <p:cNvSpPr>
            <a:spLocks noGrp="1"/>
          </p:cNvSpPr>
          <p:nvPr>
            <p:ph type="pic" sz="quarter" idx="16"/>
          </p:nvPr>
        </p:nvSpPr>
        <p:spPr>
          <a:xfrm>
            <a:off x="539750" y="7292974"/>
            <a:ext cx="4383088" cy="2468563"/>
          </a:xfrm>
          <a:prstGeom prst="rect">
            <a:avLst/>
          </a:prstGeom>
          <a:noFill/>
        </p:spPr>
        <p:txBody>
          <a:bodyPr anchor="ctr" anchorCtr="1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1500188" y="5580063"/>
            <a:ext cx="1136332" cy="1590675"/>
          </a:xfrm>
          <a:prstGeom prst="rect">
            <a:avLst/>
          </a:prstGeom>
          <a:noFill/>
        </p:spPr>
        <p:txBody>
          <a:bodyPr anchor="ctr" anchorCtr="1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/>
          </p:nvPr>
        </p:nvSpPr>
        <p:spPr>
          <a:xfrm>
            <a:off x="2813303" y="2462214"/>
            <a:ext cx="4387597" cy="2881311"/>
          </a:xfrm>
          <a:prstGeom prst="rect">
            <a:avLst/>
          </a:prstGeom>
        </p:spPr>
        <p:txBody>
          <a:bodyPr/>
          <a:lstStyle>
            <a:lvl2pPr>
              <a:spcBef>
                <a:spcPts val="0"/>
              </a:spcBef>
              <a:defRPr/>
            </a:lvl2pPr>
            <a:lvl3pPr marL="171450" indent="-171450">
              <a:spcBef>
                <a:spcPts val="0"/>
              </a:spcBef>
              <a:buFont typeface="Symbol" panose="05050102010706020507" pitchFamily="18" charset="2"/>
              <a:buChar char="-"/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541655" y="2465388"/>
            <a:ext cx="2089150" cy="2878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lnSpc>
                <a:spcPts val="1134"/>
              </a:lnSpc>
              <a:spcBef>
                <a:spcPts val="0"/>
              </a:spcBef>
              <a:spcAft>
                <a:spcPts val="0"/>
              </a:spcAft>
              <a:defRPr sz="850" cap="all" baseline="0"/>
            </a:lvl2pPr>
            <a:lvl3pPr marL="0" indent="0">
              <a:lnSpc>
                <a:spcPts val="1134"/>
              </a:lnSpc>
              <a:spcBef>
                <a:spcPts val="0"/>
              </a:spcBef>
              <a:buFontTx/>
              <a:buNone/>
              <a:defRPr lang="de-DE" sz="8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" indent="-171450">
              <a:lnSpc>
                <a:spcPts val="1134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Char char="●"/>
              <a:defRPr sz="850"/>
            </a:lvl4pPr>
            <a:lvl5pPr marL="282575" indent="-130175">
              <a:lnSpc>
                <a:spcPts val="1134"/>
              </a:lnSpc>
              <a:spcBef>
                <a:spcPts val="0"/>
              </a:spcBef>
              <a:defRPr sz="85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4" name="Titel 3"/>
          <p:cNvSpPr>
            <a:spLocks noGrp="1"/>
          </p:cNvSpPr>
          <p:nvPr userDrawn="1">
            <p:ph type="title" hasCustomPrompt="1"/>
          </p:nvPr>
        </p:nvSpPr>
        <p:spPr>
          <a:xfrm>
            <a:off x="1674812" y="1182688"/>
            <a:ext cx="5521325" cy="900112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e-DE" dirty="0"/>
              <a:t>Titel einfügen (maximal 3-zeilig!)</a:t>
            </a:r>
            <a:endParaRPr lang="de-AT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lnSpc>
                <a:spcPts val="1000"/>
              </a:lnSpc>
              <a:defRPr sz="75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20" name="Textplatzhalter 6"/>
          <p:cNvSpPr>
            <a:spLocks noGrp="1"/>
          </p:cNvSpPr>
          <p:nvPr userDrawn="1"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lnSpc>
                <a:spcPts val="1000"/>
              </a:lnSpc>
              <a:defRPr sz="75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Bildplatzhalter 7"/>
          <p:cNvSpPr>
            <a:spLocks noGrp="1"/>
          </p:cNvSpPr>
          <p:nvPr>
            <p:ph type="pic" sz="quarter" idx="24"/>
          </p:nvPr>
        </p:nvSpPr>
        <p:spPr>
          <a:xfrm>
            <a:off x="5097464" y="5580066"/>
            <a:ext cx="2282196" cy="4196803"/>
          </a:xfrm>
          <a:custGeom>
            <a:avLst/>
            <a:gdLst>
              <a:gd name="connsiteX0" fmla="*/ 0 w 6843713"/>
              <a:gd name="connsiteY0" fmla="*/ 0 h 7483475"/>
              <a:gd name="connsiteX1" fmla="*/ 6843713 w 6843713"/>
              <a:gd name="connsiteY1" fmla="*/ 0 h 7483475"/>
              <a:gd name="connsiteX2" fmla="*/ 6843713 w 6843713"/>
              <a:gd name="connsiteY2" fmla="*/ 7483475 h 7483475"/>
              <a:gd name="connsiteX3" fmla="*/ 0 w 6843713"/>
              <a:gd name="connsiteY3" fmla="*/ 7483475 h 7483475"/>
              <a:gd name="connsiteX4" fmla="*/ 0 w 6843713"/>
              <a:gd name="connsiteY4" fmla="*/ 0 h 7483475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0 w 6843713"/>
              <a:gd name="connsiteY4" fmla="*/ 7483475 h 7485254"/>
              <a:gd name="connsiteX5" fmla="*/ 0 w 6843713"/>
              <a:gd name="connsiteY5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0 w 6843713"/>
              <a:gd name="connsiteY5" fmla="*/ 7483475 h 7485254"/>
              <a:gd name="connsiteX6" fmla="*/ 0 w 6843713"/>
              <a:gd name="connsiteY6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4946651 w 6843713"/>
              <a:gd name="connsiteY5" fmla="*/ 6618286 h 7485254"/>
              <a:gd name="connsiteX6" fmla="*/ 0 w 6843713"/>
              <a:gd name="connsiteY6" fmla="*/ 7483475 h 7485254"/>
              <a:gd name="connsiteX7" fmla="*/ 0 w 6843713"/>
              <a:gd name="connsiteY7" fmla="*/ 0 h 748525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9189"/>
              <a:gd name="connsiteX1" fmla="*/ 6843713 w 6843713"/>
              <a:gd name="connsiteY1" fmla="*/ 0 h 7489189"/>
              <a:gd name="connsiteX2" fmla="*/ 6843713 w 6843713"/>
              <a:gd name="connsiteY2" fmla="*/ 7483475 h 7489189"/>
              <a:gd name="connsiteX3" fmla="*/ 6663532 w 6843713"/>
              <a:gd name="connsiteY3" fmla="*/ 7485062 h 7489189"/>
              <a:gd name="connsiteX4" fmla="*/ 6658770 w 6843713"/>
              <a:gd name="connsiteY4" fmla="*/ 6613524 h 7489189"/>
              <a:gd name="connsiteX5" fmla="*/ 4946651 w 6843713"/>
              <a:gd name="connsiteY5" fmla="*/ 6618286 h 7489189"/>
              <a:gd name="connsiteX6" fmla="*/ 4956335 w 6843713"/>
              <a:gd name="connsiteY6" fmla="*/ 7489189 h 7489189"/>
              <a:gd name="connsiteX7" fmla="*/ 0 w 6843713"/>
              <a:gd name="connsiteY7" fmla="*/ 7483475 h 7489189"/>
              <a:gd name="connsiteX8" fmla="*/ 0 w 6843713"/>
              <a:gd name="connsiteY8" fmla="*/ 0 h 7489189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3243301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3243301 w 6843713"/>
              <a:gd name="connsiteY8" fmla="*/ 0 h 7486807"/>
              <a:gd name="connsiteX0" fmla="*/ 0 w 3600412"/>
              <a:gd name="connsiteY0" fmla="*/ 0 h 7496175"/>
              <a:gd name="connsiteX1" fmla="*/ 3600412 w 3600412"/>
              <a:gd name="connsiteY1" fmla="*/ 0 h 7496175"/>
              <a:gd name="connsiteX2" fmla="*/ 3600412 w 3600412"/>
              <a:gd name="connsiteY2" fmla="*/ 7483475 h 7496175"/>
              <a:gd name="connsiteX3" fmla="*/ 3420231 w 3600412"/>
              <a:gd name="connsiteY3" fmla="*/ 7482681 h 7496175"/>
              <a:gd name="connsiteX4" fmla="*/ 3420231 w 3600412"/>
              <a:gd name="connsiteY4" fmla="*/ 6618287 h 7496175"/>
              <a:gd name="connsiteX5" fmla="*/ 1703350 w 3600412"/>
              <a:gd name="connsiteY5" fmla="*/ 6618286 h 7496175"/>
              <a:gd name="connsiteX6" fmla="*/ 1703509 w 3600412"/>
              <a:gd name="connsiteY6" fmla="*/ 7486807 h 7496175"/>
              <a:gd name="connsiteX7" fmla="*/ 25338 w 3600412"/>
              <a:gd name="connsiteY7" fmla="*/ 7496175 h 7496175"/>
              <a:gd name="connsiteX8" fmla="*/ 0 w 3600412"/>
              <a:gd name="connsiteY8" fmla="*/ 0 h 7496175"/>
              <a:gd name="connsiteX0" fmla="*/ 1266915 w 3575074"/>
              <a:gd name="connsiteY0" fmla="*/ 3340100 h 7496175"/>
              <a:gd name="connsiteX1" fmla="*/ 3575074 w 3575074"/>
              <a:gd name="connsiteY1" fmla="*/ 0 h 7496175"/>
              <a:gd name="connsiteX2" fmla="*/ 3575074 w 3575074"/>
              <a:gd name="connsiteY2" fmla="*/ 7483475 h 7496175"/>
              <a:gd name="connsiteX3" fmla="*/ 3394893 w 3575074"/>
              <a:gd name="connsiteY3" fmla="*/ 7482681 h 7496175"/>
              <a:gd name="connsiteX4" fmla="*/ 3394893 w 3575074"/>
              <a:gd name="connsiteY4" fmla="*/ 6618287 h 7496175"/>
              <a:gd name="connsiteX5" fmla="*/ 1678012 w 3575074"/>
              <a:gd name="connsiteY5" fmla="*/ 6618286 h 7496175"/>
              <a:gd name="connsiteX6" fmla="*/ 1678171 w 3575074"/>
              <a:gd name="connsiteY6" fmla="*/ 7486807 h 7496175"/>
              <a:gd name="connsiteX7" fmla="*/ 0 w 3575074"/>
              <a:gd name="connsiteY7" fmla="*/ 7496175 h 7496175"/>
              <a:gd name="connsiteX8" fmla="*/ 1266915 w 3575074"/>
              <a:gd name="connsiteY8" fmla="*/ 3340100 h 7496175"/>
              <a:gd name="connsiteX0" fmla="*/ 1266915 w 3575074"/>
              <a:gd name="connsiteY0" fmla="*/ 25400 h 4181475"/>
              <a:gd name="connsiteX1" fmla="*/ 3562405 w 3575074"/>
              <a:gd name="connsiteY1" fmla="*/ 0 h 4181475"/>
              <a:gd name="connsiteX2" fmla="*/ 3575074 w 3575074"/>
              <a:gd name="connsiteY2" fmla="*/ 4168775 h 4181475"/>
              <a:gd name="connsiteX3" fmla="*/ 3394893 w 3575074"/>
              <a:gd name="connsiteY3" fmla="*/ 4167981 h 4181475"/>
              <a:gd name="connsiteX4" fmla="*/ 3394893 w 3575074"/>
              <a:gd name="connsiteY4" fmla="*/ 3303587 h 4181475"/>
              <a:gd name="connsiteX5" fmla="*/ 1678012 w 3575074"/>
              <a:gd name="connsiteY5" fmla="*/ 3303586 h 4181475"/>
              <a:gd name="connsiteX6" fmla="*/ 1678171 w 3575074"/>
              <a:gd name="connsiteY6" fmla="*/ 4172107 h 4181475"/>
              <a:gd name="connsiteX7" fmla="*/ 0 w 3575074"/>
              <a:gd name="connsiteY7" fmla="*/ 4181475 h 4181475"/>
              <a:gd name="connsiteX8" fmla="*/ 1266915 w 3575074"/>
              <a:gd name="connsiteY8" fmla="*/ 25400 h 4181475"/>
              <a:gd name="connsiteX0" fmla="*/ 1 w 2308160"/>
              <a:gd name="connsiteY0" fmla="*/ 25400 h 4194175"/>
              <a:gd name="connsiteX1" fmla="*/ 2295491 w 2308160"/>
              <a:gd name="connsiteY1" fmla="*/ 0 h 4194175"/>
              <a:gd name="connsiteX2" fmla="*/ 2308160 w 2308160"/>
              <a:gd name="connsiteY2" fmla="*/ 4168775 h 4194175"/>
              <a:gd name="connsiteX3" fmla="*/ 2127979 w 2308160"/>
              <a:gd name="connsiteY3" fmla="*/ 4167981 h 4194175"/>
              <a:gd name="connsiteX4" fmla="*/ 2127979 w 2308160"/>
              <a:gd name="connsiteY4" fmla="*/ 3303587 h 4194175"/>
              <a:gd name="connsiteX5" fmla="*/ 411098 w 2308160"/>
              <a:gd name="connsiteY5" fmla="*/ 3303586 h 4194175"/>
              <a:gd name="connsiteX6" fmla="*/ 411257 w 2308160"/>
              <a:gd name="connsiteY6" fmla="*/ 4172107 h 4194175"/>
              <a:gd name="connsiteX7" fmla="*/ 0 w 2308160"/>
              <a:gd name="connsiteY7" fmla="*/ 4194175 h 4194175"/>
              <a:gd name="connsiteX8" fmla="*/ 1 w 2308160"/>
              <a:gd name="connsiteY8" fmla="*/ 25400 h 4194175"/>
              <a:gd name="connsiteX0" fmla="*/ 23755 w 2308160"/>
              <a:gd name="connsiteY0" fmla="*/ 0 h 4211638"/>
              <a:gd name="connsiteX1" fmla="*/ 2295491 w 2308160"/>
              <a:gd name="connsiteY1" fmla="*/ 17463 h 4211638"/>
              <a:gd name="connsiteX2" fmla="*/ 2308160 w 2308160"/>
              <a:gd name="connsiteY2" fmla="*/ 4186238 h 4211638"/>
              <a:gd name="connsiteX3" fmla="*/ 2127979 w 2308160"/>
              <a:gd name="connsiteY3" fmla="*/ 4185444 h 4211638"/>
              <a:gd name="connsiteX4" fmla="*/ 2127979 w 2308160"/>
              <a:gd name="connsiteY4" fmla="*/ 3321050 h 4211638"/>
              <a:gd name="connsiteX5" fmla="*/ 411098 w 2308160"/>
              <a:gd name="connsiteY5" fmla="*/ 3321049 h 4211638"/>
              <a:gd name="connsiteX6" fmla="*/ 411257 w 2308160"/>
              <a:gd name="connsiteY6" fmla="*/ 4189570 h 4211638"/>
              <a:gd name="connsiteX7" fmla="*/ 0 w 2308160"/>
              <a:gd name="connsiteY7" fmla="*/ 4211638 h 4211638"/>
              <a:gd name="connsiteX8" fmla="*/ 23755 w 2308160"/>
              <a:gd name="connsiteY8" fmla="*/ 0 h 4211638"/>
              <a:gd name="connsiteX0" fmla="*/ 28507 w 2308160"/>
              <a:gd name="connsiteY0" fmla="*/ 0 h 4206875"/>
              <a:gd name="connsiteX1" fmla="*/ 2295491 w 2308160"/>
              <a:gd name="connsiteY1" fmla="*/ 12700 h 4206875"/>
              <a:gd name="connsiteX2" fmla="*/ 2308160 w 2308160"/>
              <a:gd name="connsiteY2" fmla="*/ 4181475 h 4206875"/>
              <a:gd name="connsiteX3" fmla="*/ 2127979 w 2308160"/>
              <a:gd name="connsiteY3" fmla="*/ 4180681 h 4206875"/>
              <a:gd name="connsiteX4" fmla="*/ 2127979 w 2308160"/>
              <a:gd name="connsiteY4" fmla="*/ 3316287 h 4206875"/>
              <a:gd name="connsiteX5" fmla="*/ 411098 w 2308160"/>
              <a:gd name="connsiteY5" fmla="*/ 3316286 h 4206875"/>
              <a:gd name="connsiteX6" fmla="*/ 411257 w 2308160"/>
              <a:gd name="connsiteY6" fmla="*/ 4184807 h 4206875"/>
              <a:gd name="connsiteX7" fmla="*/ 0 w 2308160"/>
              <a:gd name="connsiteY7" fmla="*/ 4206875 h 4206875"/>
              <a:gd name="connsiteX8" fmla="*/ 28507 w 2308160"/>
              <a:gd name="connsiteY8" fmla="*/ 0 h 4206875"/>
              <a:gd name="connsiteX0" fmla="*/ 28507 w 2314495"/>
              <a:gd name="connsiteY0" fmla="*/ 1587 h 4208462"/>
              <a:gd name="connsiteX1" fmla="*/ 2314495 w 2314495"/>
              <a:gd name="connsiteY1" fmla="*/ 0 h 4208462"/>
              <a:gd name="connsiteX2" fmla="*/ 2308160 w 2314495"/>
              <a:gd name="connsiteY2" fmla="*/ 4183062 h 4208462"/>
              <a:gd name="connsiteX3" fmla="*/ 2127979 w 2314495"/>
              <a:gd name="connsiteY3" fmla="*/ 4182268 h 4208462"/>
              <a:gd name="connsiteX4" fmla="*/ 2127979 w 2314495"/>
              <a:gd name="connsiteY4" fmla="*/ 3317874 h 4208462"/>
              <a:gd name="connsiteX5" fmla="*/ 411098 w 2314495"/>
              <a:gd name="connsiteY5" fmla="*/ 3317873 h 4208462"/>
              <a:gd name="connsiteX6" fmla="*/ 411257 w 2314495"/>
              <a:gd name="connsiteY6" fmla="*/ 4186394 h 4208462"/>
              <a:gd name="connsiteX7" fmla="*/ 0 w 2314495"/>
              <a:gd name="connsiteY7" fmla="*/ 4208462 h 4208462"/>
              <a:gd name="connsiteX8" fmla="*/ 28507 w 2314495"/>
              <a:gd name="connsiteY8" fmla="*/ 1587 h 4208462"/>
              <a:gd name="connsiteX0" fmla="*/ 28507 w 2308543"/>
              <a:gd name="connsiteY0" fmla="*/ 0 h 4206875"/>
              <a:gd name="connsiteX1" fmla="*/ 2304993 w 2308543"/>
              <a:gd name="connsiteY1" fmla="*/ 3176 h 4206875"/>
              <a:gd name="connsiteX2" fmla="*/ 2308160 w 2308543"/>
              <a:gd name="connsiteY2" fmla="*/ 4181475 h 4206875"/>
              <a:gd name="connsiteX3" fmla="*/ 2127979 w 2308543"/>
              <a:gd name="connsiteY3" fmla="*/ 4180681 h 4206875"/>
              <a:gd name="connsiteX4" fmla="*/ 2127979 w 2308543"/>
              <a:gd name="connsiteY4" fmla="*/ 3316287 h 4206875"/>
              <a:gd name="connsiteX5" fmla="*/ 411098 w 2308543"/>
              <a:gd name="connsiteY5" fmla="*/ 3316286 h 4206875"/>
              <a:gd name="connsiteX6" fmla="*/ 411257 w 2308543"/>
              <a:gd name="connsiteY6" fmla="*/ 4184807 h 4206875"/>
              <a:gd name="connsiteX7" fmla="*/ 0 w 2308543"/>
              <a:gd name="connsiteY7" fmla="*/ 4206875 h 4206875"/>
              <a:gd name="connsiteX8" fmla="*/ 28507 w 2308543"/>
              <a:gd name="connsiteY8" fmla="*/ 0 h 4206875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73538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099472 w 2280036"/>
              <a:gd name="connsiteY4" fmla="*/ 3316287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106598 w 2280036"/>
              <a:gd name="connsiteY4" fmla="*/ 3311525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1847 w 2280036"/>
              <a:gd name="connsiteY4" fmla="*/ 3316288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82591 w 2280036"/>
              <a:gd name="connsiteY5" fmla="*/ 3316286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2093 w 2280036"/>
              <a:gd name="connsiteY5" fmla="*/ 33186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54546 w 2280036"/>
              <a:gd name="connsiteY4" fmla="*/ 4104480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2639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6032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47211 w 2280036"/>
              <a:gd name="connsiteY3" fmla="*/ 416163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97327 w 2280036"/>
              <a:gd name="connsiteY3" fmla="*/ 4118768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64071 w 2280036"/>
              <a:gd name="connsiteY3" fmla="*/ 4130674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75950 w 2280036"/>
              <a:gd name="connsiteY3" fmla="*/ 4104480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055 w 2280036"/>
              <a:gd name="connsiteY3" fmla="*/ 3813175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3430 w 2280036"/>
              <a:gd name="connsiteY3" fmla="*/ 3810793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91618"/>
              <a:gd name="connsiteX1" fmla="*/ 2276486 w 2280036"/>
              <a:gd name="connsiteY1" fmla="*/ 3176 h 4191618"/>
              <a:gd name="connsiteX2" fmla="*/ 2279653 w 2280036"/>
              <a:gd name="connsiteY2" fmla="*/ 4181475 h 4191618"/>
              <a:gd name="connsiteX3" fmla="*/ 2099910 w 2280036"/>
              <a:gd name="connsiteY3" fmla="*/ 4180680 h 4191618"/>
              <a:gd name="connsiteX4" fmla="*/ 2103430 w 2280036"/>
              <a:gd name="connsiteY4" fmla="*/ 3810793 h 4191618"/>
              <a:gd name="connsiteX5" fmla="*/ 392093 w 2280036"/>
              <a:gd name="connsiteY5" fmla="*/ 3813967 h 4191618"/>
              <a:gd name="connsiteX6" fmla="*/ 389876 w 2280036"/>
              <a:gd name="connsiteY6" fmla="*/ 4180045 h 4191618"/>
              <a:gd name="connsiteX7" fmla="*/ 4750 w 2280036"/>
              <a:gd name="connsiteY7" fmla="*/ 4183063 h 4191618"/>
              <a:gd name="connsiteX8" fmla="*/ 0 w 2280036"/>
              <a:gd name="connsiteY8" fmla="*/ 0 h 4191618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5805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5805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1827876 w 2279653"/>
              <a:gd name="connsiteY4" fmla="*/ 3915568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1055 w 2279653"/>
              <a:gd name="connsiteY4" fmla="*/ 3813174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8863 w 2279653"/>
              <a:gd name="connsiteY1" fmla="*/ 794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1055 w 2279653"/>
              <a:gd name="connsiteY4" fmla="*/ 3813174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7276"/>
              <a:gd name="connsiteY0" fmla="*/ 0 h 4185445"/>
              <a:gd name="connsiteX1" fmla="*/ 2276486 w 2277276"/>
              <a:gd name="connsiteY1" fmla="*/ 3176 h 4185445"/>
              <a:gd name="connsiteX2" fmla="*/ 2277276 w 2277276"/>
              <a:gd name="connsiteY2" fmla="*/ 4183857 h 4185445"/>
              <a:gd name="connsiteX3" fmla="*/ 2097533 w 2277276"/>
              <a:gd name="connsiteY3" fmla="*/ 4183062 h 4185445"/>
              <a:gd name="connsiteX4" fmla="*/ 2098678 w 2277276"/>
              <a:gd name="connsiteY4" fmla="*/ 3815556 h 4185445"/>
              <a:gd name="connsiteX5" fmla="*/ 389716 w 2277276"/>
              <a:gd name="connsiteY5" fmla="*/ 3816349 h 4185445"/>
              <a:gd name="connsiteX6" fmla="*/ 387499 w 2277276"/>
              <a:gd name="connsiteY6" fmla="*/ 4182427 h 4185445"/>
              <a:gd name="connsiteX7" fmla="*/ 2373 w 2277276"/>
              <a:gd name="connsiteY7" fmla="*/ 4185445 h 4185445"/>
              <a:gd name="connsiteX8" fmla="*/ 0 w 2277276"/>
              <a:gd name="connsiteY8" fmla="*/ 0 h 4185445"/>
              <a:gd name="connsiteX0" fmla="*/ 461 w 2275360"/>
              <a:gd name="connsiteY0" fmla="*/ 0 h 4183063"/>
              <a:gd name="connsiteX1" fmla="*/ 2274570 w 2275360"/>
              <a:gd name="connsiteY1" fmla="*/ 794 h 4183063"/>
              <a:gd name="connsiteX2" fmla="*/ 2275360 w 2275360"/>
              <a:gd name="connsiteY2" fmla="*/ 4181475 h 4183063"/>
              <a:gd name="connsiteX3" fmla="*/ 2095617 w 2275360"/>
              <a:gd name="connsiteY3" fmla="*/ 4180680 h 4183063"/>
              <a:gd name="connsiteX4" fmla="*/ 2096762 w 2275360"/>
              <a:gd name="connsiteY4" fmla="*/ 3813174 h 4183063"/>
              <a:gd name="connsiteX5" fmla="*/ 387800 w 2275360"/>
              <a:gd name="connsiteY5" fmla="*/ 3813967 h 4183063"/>
              <a:gd name="connsiteX6" fmla="*/ 385583 w 2275360"/>
              <a:gd name="connsiteY6" fmla="*/ 4180045 h 4183063"/>
              <a:gd name="connsiteX7" fmla="*/ 457 w 2275360"/>
              <a:gd name="connsiteY7" fmla="*/ 4183063 h 4183063"/>
              <a:gd name="connsiteX8" fmla="*/ 461 w 2275360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387343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289915 w 2274903"/>
              <a:gd name="connsiteY5" fmla="*/ 3737738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7536 w 2274903"/>
              <a:gd name="connsiteY3" fmla="*/ 4183063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7536 w 2274903"/>
              <a:gd name="connsiteY3" fmla="*/ 4183063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92592"/>
              <a:gd name="connsiteX1" fmla="*/ 2274113 w 2274903"/>
              <a:gd name="connsiteY1" fmla="*/ 794 h 4192592"/>
              <a:gd name="connsiteX2" fmla="*/ 2274903 w 2274903"/>
              <a:gd name="connsiteY2" fmla="*/ 4181475 h 4192592"/>
              <a:gd name="connsiteX3" fmla="*/ 2097536 w 2274903"/>
              <a:gd name="connsiteY3" fmla="*/ 4183063 h 4192592"/>
              <a:gd name="connsiteX4" fmla="*/ 2096305 w 2274903"/>
              <a:gd name="connsiteY4" fmla="*/ 3813174 h 4192592"/>
              <a:gd name="connsiteX5" fmla="*/ 384966 w 2274903"/>
              <a:gd name="connsiteY5" fmla="*/ 3813967 h 4192592"/>
              <a:gd name="connsiteX6" fmla="*/ 385126 w 2274903"/>
              <a:gd name="connsiteY6" fmla="*/ 4180045 h 4192592"/>
              <a:gd name="connsiteX7" fmla="*/ 0 w 2274903"/>
              <a:gd name="connsiteY7" fmla="*/ 4192592 h 4192592"/>
              <a:gd name="connsiteX8" fmla="*/ 4 w 2274903"/>
              <a:gd name="connsiteY8" fmla="*/ 0 h 419259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096305 w 2274903"/>
              <a:gd name="connsiteY4" fmla="*/ 3813174 h 4196052"/>
              <a:gd name="connsiteX5" fmla="*/ 384966 w 2274903"/>
              <a:gd name="connsiteY5" fmla="*/ 3813967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096305 w 2274903"/>
              <a:gd name="connsiteY4" fmla="*/ 3813174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121652 w 2274903"/>
              <a:gd name="connsiteY4" fmla="*/ 3762355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116547 w 2274903"/>
              <a:gd name="connsiteY3" fmla="*/ 4189415 h 4196052"/>
              <a:gd name="connsiteX4" fmla="*/ 2121652 w 2274903"/>
              <a:gd name="connsiteY4" fmla="*/ 3762355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275"/>
              <a:gd name="connsiteY0" fmla="*/ 0 h 4196052"/>
              <a:gd name="connsiteX1" fmla="*/ 2274113 w 2274275"/>
              <a:gd name="connsiteY1" fmla="*/ 794 h 4196052"/>
              <a:gd name="connsiteX2" fmla="*/ 2271735 w 2274275"/>
              <a:gd name="connsiteY2" fmla="*/ 4191004 h 4196052"/>
              <a:gd name="connsiteX3" fmla="*/ 2116547 w 2274275"/>
              <a:gd name="connsiteY3" fmla="*/ 4189415 h 4196052"/>
              <a:gd name="connsiteX4" fmla="*/ 2121652 w 2274275"/>
              <a:gd name="connsiteY4" fmla="*/ 3762355 h 4196052"/>
              <a:gd name="connsiteX5" fmla="*/ 166348 w 2274275"/>
              <a:gd name="connsiteY5" fmla="*/ 3763148 h 4196052"/>
              <a:gd name="connsiteX6" fmla="*/ 163339 w 2274275"/>
              <a:gd name="connsiteY6" fmla="*/ 4195926 h 4196052"/>
              <a:gd name="connsiteX7" fmla="*/ 0 w 2274275"/>
              <a:gd name="connsiteY7" fmla="*/ 4192592 h 4196052"/>
              <a:gd name="connsiteX8" fmla="*/ 4 w 2274275"/>
              <a:gd name="connsiteY8" fmla="*/ 0 h 4196052"/>
              <a:gd name="connsiteX0" fmla="*/ 4 w 2274275"/>
              <a:gd name="connsiteY0" fmla="*/ 0 h 4198398"/>
              <a:gd name="connsiteX1" fmla="*/ 2274113 w 2274275"/>
              <a:gd name="connsiteY1" fmla="*/ 794 h 4198398"/>
              <a:gd name="connsiteX2" fmla="*/ 2271735 w 2274275"/>
              <a:gd name="connsiteY2" fmla="*/ 4191004 h 4198398"/>
              <a:gd name="connsiteX3" fmla="*/ 2116547 w 2274275"/>
              <a:gd name="connsiteY3" fmla="*/ 4189415 h 4198398"/>
              <a:gd name="connsiteX4" fmla="*/ 2121652 w 2274275"/>
              <a:gd name="connsiteY4" fmla="*/ 3762355 h 4198398"/>
              <a:gd name="connsiteX5" fmla="*/ 166348 w 2274275"/>
              <a:gd name="connsiteY5" fmla="*/ 3763148 h 4198398"/>
              <a:gd name="connsiteX6" fmla="*/ 208425 w 2274275"/>
              <a:gd name="connsiteY6" fmla="*/ 4198308 h 4198398"/>
              <a:gd name="connsiteX7" fmla="*/ 0 w 2274275"/>
              <a:gd name="connsiteY7" fmla="*/ 4192592 h 4198398"/>
              <a:gd name="connsiteX8" fmla="*/ 4 w 2274275"/>
              <a:gd name="connsiteY8" fmla="*/ 0 h 4198398"/>
              <a:gd name="connsiteX0" fmla="*/ 4 w 2274275"/>
              <a:gd name="connsiteY0" fmla="*/ 0 h 4198398"/>
              <a:gd name="connsiteX1" fmla="*/ 2274113 w 2274275"/>
              <a:gd name="connsiteY1" fmla="*/ 794 h 4198398"/>
              <a:gd name="connsiteX2" fmla="*/ 2271735 w 2274275"/>
              <a:gd name="connsiteY2" fmla="*/ 4191004 h 4198398"/>
              <a:gd name="connsiteX3" fmla="*/ 2116547 w 2274275"/>
              <a:gd name="connsiteY3" fmla="*/ 4189415 h 4198398"/>
              <a:gd name="connsiteX4" fmla="*/ 2121652 w 2274275"/>
              <a:gd name="connsiteY4" fmla="*/ 3762355 h 4198398"/>
              <a:gd name="connsiteX5" fmla="*/ 211434 w 2274275"/>
              <a:gd name="connsiteY5" fmla="*/ 3486818 h 4198398"/>
              <a:gd name="connsiteX6" fmla="*/ 208425 w 2274275"/>
              <a:gd name="connsiteY6" fmla="*/ 4198308 h 4198398"/>
              <a:gd name="connsiteX7" fmla="*/ 0 w 2274275"/>
              <a:gd name="connsiteY7" fmla="*/ 4192592 h 4198398"/>
              <a:gd name="connsiteX8" fmla="*/ 4 w 2274275"/>
              <a:gd name="connsiteY8" fmla="*/ 0 h 4198398"/>
              <a:gd name="connsiteX0" fmla="*/ 4 w 2274275"/>
              <a:gd name="connsiteY0" fmla="*/ 0 h 4198398"/>
              <a:gd name="connsiteX1" fmla="*/ 2274113 w 2274275"/>
              <a:gd name="connsiteY1" fmla="*/ 794 h 4198398"/>
              <a:gd name="connsiteX2" fmla="*/ 2271735 w 2274275"/>
              <a:gd name="connsiteY2" fmla="*/ 4191004 h 4198398"/>
              <a:gd name="connsiteX3" fmla="*/ 2116547 w 2274275"/>
              <a:gd name="connsiteY3" fmla="*/ 4189415 h 4198398"/>
              <a:gd name="connsiteX4" fmla="*/ 2112160 w 2274275"/>
              <a:gd name="connsiteY4" fmla="*/ 3493172 h 4198398"/>
              <a:gd name="connsiteX5" fmla="*/ 211434 w 2274275"/>
              <a:gd name="connsiteY5" fmla="*/ 3486818 h 4198398"/>
              <a:gd name="connsiteX6" fmla="*/ 208425 w 2274275"/>
              <a:gd name="connsiteY6" fmla="*/ 4198308 h 4198398"/>
              <a:gd name="connsiteX7" fmla="*/ 0 w 2274275"/>
              <a:gd name="connsiteY7" fmla="*/ 4192592 h 4198398"/>
              <a:gd name="connsiteX8" fmla="*/ 4 w 2274275"/>
              <a:gd name="connsiteY8" fmla="*/ 0 h 4198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4275" h="4198398">
                <a:moveTo>
                  <a:pt x="4" y="0"/>
                </a:moveTo>
                <a:lnTo>
                  <a:pt x="2274113" y="794"/>
                </a:lnTo>
                <a:cubicBezTo>
                  <a:pt x="2275169" y="1393560"/>
                  <a:pt x="2270679" y="2798238"/>
                  <a:pt x="2271735" y="4191004"/>
                </a:cubicBezTo>
                <a:lnTo>
                  <a:pt x="2116547" y="4189415"/>
                </a:lnTo>
                <a:cubicBezTo>
                  <a:pt x="2116929" y="4066913"/>
                  <a:pt x="2111778" y="3615674"/>
                  <a:pt x="2112160" y="3493172"/>
                </a:cubicBezTo>
                <a:lnTo>
                  <a:pt x="211434" y="3486818"/>
                </a:lnTo>
                <a:cubicBezTo>
                  <a:pt x="211487" y="3608844"/>
                  <a:pt x="208372" y="4076282"/>
                  <a:pt x="208425" y="4198308"/>
                </a:cubicBezTo>
                <a:cubicBezTo>
                  <a:pt x="80050" y="4199314"/>
                  <a:pt x="128375" y="4191586"/>
                  <a:pt x="0" y="4192592"/>
                </a:cubicBezTo>
                <a:cubicBezTo>
                  <a:pt x="1" y="2798238"/>
                  <a:pt x="3" y="1394354"/>
                  <a:pt x="4" y="0"/>
                </a:cubicBezTo>
                <a:close/>
              </a:path>
            </a:pathLst>
          </a:cu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pic>
        <p:nvPicPr>
          <p:cNvPr id="14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2394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367" userDrawn="1">
          <p15:clr>
            <a:srgbClr val="FBAE40"/>
          </p15:clr>
        </p15:guide>
        <p15:guide id="2" orient="horz" pos="591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12"/>
          </p:nvPr>
        </p:nvSpPr>
        <p:spPr>
          <a:xfrm>
            <a:off x="2811463" y="1173162"/>
            <a:ext cx="4389437" cy="7843838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3974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9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/>
          <p:cNvSpPr>
            <a:spLocks noGrp="1"/>
          </p:cNvSpPr>
          <p:nvPr>
            <p:ph type="pic" sz="quarter" idx="11"/>
          </p:nvPr>
        </p:nvSpPr>
        <p:spPr>
          <a:xfrm>
            <a:off x="539750" y="6462887"/>
            <a:ext cx="2089149" cy="3306762"/>
          </a:xfrm>
          <a:prstGeom prst="rect">
            <a:avLst/>
          </a:pr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8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9356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12"/>
          </p:nvPr>
        </p:nvSpPr>
        <p:spPr>
          <a:xfrm>
            <a:off x="2811463" y="1173162"/>
            <a:ext cx="4389437" cy="7843838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941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6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/>
          <p:cNvSpPr>
            <a:spLocks noGrp="1"/>
          </p:cNvSpPr>
          <p:nvPr>
            <p:ph type="pic" sz="quarter" idx="11"/>
          </p:nvPr>
        </p:nvSpPr>
        <p:spPr>
          <a:xfrm>
            <a:off x="539750" y="8150573"/>
            <a:ext cx="2089149" cy="1625600"/>
          </a:xfrm>
          <a:prstGeom prst="rect">
            <a:avLst/>
          </a:pr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8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0962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12"/>
          </p:nvPr>
        </p:nvSpPr>
        <p:spPr>
          <a:xfrm>
            <a:off x="2811463" y="1173162"/>
            <a:ext cx="4389437" cy="7843838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9459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5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8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80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2811971" y="6995035"/>
            <a:ext cx="4388929" cy="2016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18393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3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einfügen (maximal 3-zeilig!)</a:t>
            </a:r>
            <a:endParaRPr lang="de-AT" dirty="0"/>
          </a:p>
        </p:txBody>
      </p:sp>
      <p:sp>
        <p:nvSpPr>
          <p:cNvPr id="13" name="Bildplatzhalter 13"/>
          <p:cNvSpPr>
            <a:spLocks noGrp="1"/>
          </p:cNvSpPr>
          <p:nvPr>
            <p:ph type="pic" sz="quarter" idx="13"/>
          </p:nvPr>
        </p:nvSpPr>
        <p:spPr>
          <a:xfrm>
            <a:off x="716281" y="2465953"/>
            <a:ext cx="1912619" cy="2016000"/>
          </a:xfrm>
          <a:prstGeom prst="rect">
            <a:avLst/>
          </a:pr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de-AT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539749" y="4736948"/>
            <a:ext cx="2089911" cy="2016000"/>
          </a:xfrm>
          <a:prstGeom prst="rect">
            <a:avLst/>
          </a:pr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de-AT" dirty="0"/>
          </a:p>
        </p:txBody>
      </p:sp>
      <p:sp>
        <p:nvSpPr>
          <p:cNvPr id="15" name="Bildplatzhalter 13"/>
          <p:cNvSpPr>
            <a:spLocks noGrp="1"/>
          </p:cNvSpPr>
          <p:nvPr>
            <p:ph type="pic" sz="quarter" idx="15"/>
          </p:nvPr>
        </p:nvSpPr>
        <p:spPr>
          <a:xfrm>
            <a:off x="1069467" y="7004560"/>
            <a:ext cx="1559433" cy="2016000"/>
          </a:xfrm>
          <a:prstGeom prst="rect">
            <a:avLst/>
          </a:pr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de-AT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6"/>
          </p:nvPr>
        </p:nvSpPr>
        <p:spPr>
          <a:xfrm>
            <a:off x="2811971" y="2465953"/>
            <a:ext cx="4388930" cy="2016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8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2811971" y="4745038"/>
            <a:ext cx="4388929" cy="2016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21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2689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12"/>
          </p:nvPr>
        </p:nvSpPr>
        <p:spPr>
          <a:xfrm>
            <a:off x="2811463" y="2462213"/>
            <a:ext cx="4389437" cy="6554787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  <a:lvl4pPr>
              <a:defRPr/>
            </a:lvl4pPr>
            <a:lvl5pPr marL="469900" indent="-171450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9133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1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/>
          <p:cNvSpPr>
            <a:spLocks noGrp="1"/>
          </p:cNvSpPr>
          <p:nvPr>
            <p:ph type="pic" sz="quarter" idx="11"/>
          </p:nvPr>
        </p:nvSpPr>
        <p:spPr>
          <a:xfrm>
            <a:off x="813723" y="2465388"/>
            <a:ext cx="1818352" cy="2878137"/>
          </a:xfrm>
          <a:prstGeom prst="rect">
            <a:avLst/>
          </a:pr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itel 3"/>
          <p:cNvSpPr>
            <a:spLocks noGrp="1"/>
          </p:cNvSpPr>
          <p:nvPr>
            <p:ph type="title" hasCustomPrompt="1"/>
          </p:nvPr>
        </p:nvSpPr>
        <p:spPr>
          <a:xfrm>
            <a:off x="1674812" y="1182688"/>
            <a:ext cx="5521325" cy="900112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e-DE" dirty="0"/>
              <a:t>Titel einfügen (maximal 3-zeilig!)</a:t>
            </a:r>
            <a:endParaRPr lang="de-AT" dirty="0"/>
          </a:p>
        </p:txBody>
      </p:sp>
      <p:pic>
        <p:nvPicPr>
          <p:cNvPr id="11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2437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7327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9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20"/>
          <p:cNvSpPr>
            <a:spLocks noGrp="1"/>
          </p:cNvSpPr>
          <p:nvPr>
            <p:ph type="pic" sz="quarter" idx="12"/>
          </p:nvPr>
        </p:nvSpPr>
        <p:spPr>
          <a:xfrm>
            <a:off x="2811464" y="5578475"/>
            <a:ext cx="2111374" cy="4195763"/>
          </a:xfrm>
          <a:prstGeom prst="rect">
            <a:avLst/>
          </a:prstGeom>
          <a:noFill/>
        </p:spPr>
        <p:txBody>
          <a:bodyPr anchor="ctr" anchorCtr="1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de-AT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539750" y="5580063"/>
            <a:ext cx="2096770" cy="4194175"/>
          </a:xfrm>
          <a:prstGeom prst="rect">
            <a:avLst/>
          </a:prstGeom>
          <a:noFill/>
        </p:spPr>
        <p:txBody>
          <a:bodyPr anchor="ctr" anchorCtr="1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de-AT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/>
          </p:nvPr>
        </p:nvSpPr>
        <p:spPr>
          <a:xfrm>
            <a:off x="2813303" y="2462214"/>
            <a:ext cx="4387597" cy="2881311"/>
          </a:xfrm>
          <a:prstGeom prst="rect">
            <a:avLst/>
          </a:prstGeom>
        </p:spPr>
        <p:txBody>
          <a:bodyPr/>
          <a:lstStyle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541655" y="2465388"/>
            <a:ext cx="2089150" cy="2878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lnSpc>
                <a:spcPts val="1134"/>
              </a:lnSpc>
              <a:spcBef>
                <a:spcPts val="0"/>
              </a:spcBef>
              <a:spcAft>
                <a:spcPts val="0"/>
              </a:spcAft>
              <a:defRPr sz="850" cap="all" baseline="0"/>
            </a:lvl2pPr>
            <a:lvl3pPr marL="0" indent="0">
              <a:lnSpc>
                <a:spcPts val="1134"/>
              </a:lnSpc>
              <a:spcBef>
                <a:spcPts val="0"/>
              </a:spcBef>
              <a:buFontTx/>
              <a:buNone/>
              <a:defRPr lang="de-DE" sz="8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" indent="-171450">
              <a:lnSpc>
                <a:spcPts val="1134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Char char="●"/>
              <a:defRPr sz="850"/>
            </a:lvl4pPr>
            <a:lvl5pPr marL="282575" indent="-130175">
              <a:lnSpc>
                <a:spcPts val="1134"/>
              </a:lnSpc>
              <a:spcBef>
                <a:spcPts val="0"/>
              </a:spcBef>
              <a:defRPr sz="85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4" name="Titel 3"/>
          <p:cNvSpPr>
            <a:spLocks noGrp="1"/>
          </p:cNvSpPr>
          <p:nvPr userDrawn="1">
            <p:ph type="title" hasCustomPrompt="1"/>
          </p:nvPr>
        </p:nvSpPr>
        <p:spPr>
          <a:xfrm>
            <a:off x="1674812" y="1182688"/>
            <a:ext cx="5521325" cy="900112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e-DE" dirty="0"/>
              <a:t>Titel einfügen (maximal 3-zeilig!)</a:t>
            </a:r>
            <a:endParaRPr lang="de-AT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lnSpc>
                <a:spcPts val="1000"/>
              </a:lnSpc>
              <a:defRPr sz="75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20" name="Textplatzhalter 6"/>
          <p:cNvSpPr>
            <a:spLocks noGrp="1"/>
          </p:cNvSpPr>
          <p:nvPr userDrawn="1"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lnSpc>
                <a:spcPts val="1000"/>
              </a:lnSpc>
              <a:defRPr sz="75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Bildplatzhalter 7"/>
          <p:cNvSpPr>
            <a:spLocks noGrp="1"/>
          </p:cNvSpPr>
          <p:nvPr>
            <p:ph type="pic" sz="quarter" idx="24"/>
          </p:nvPr>
        </p:nvSpPr>
        <p:spPr>
          <a:xfrm>
            <a:off x="5097464" y="5580066"/>
            <a:ext cx="2282196" cy="4196804"/>
          </a:xfrm>
          <a:custGeom>
            <a:avLst/>
            <a:gdLst>
              <a:gd name="connsiteX0" fmla="*/ 0 w 6843713"/>
              <a:gd name="connsiteY0" fmla="*/ 0 h 7483475"/>
              <a:gd name="connsiteX1" fmla="*/ 6843713 w 6843713"/>
              <a:gd name="connsiteY1" fmla="*/ 0 h 7483475"/>
              <a:gd name="connsiteX2" fmla="*/ 6843713 w 6843713"/>
              <a:gd name="connsiteY2" fmla="*/ 7483475 h 7483475"/>
              <a:gd name="connsiteX3" fmla="*/ 0 w 6843713"/>
              <a:gd name="connsiteY3" fmla="*/ 7483475 h 7483475"/>
              <a:gd name="connsiteX4" fmla="*/ 0 w 6843713"/>
              <a:gd name="connsiteY4" fmla="*/ 0 h 7483475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0 w 6843713"/>
              <a:gd name="connsiteY4" fmla="*/ 7483475 h 7485254"/>
              <a:gd name="connsiteX5" fmla="*/ 0 w 6843713"/>
              <a:gd name="connsiteY5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0 w 6843713"/>
              <a:gd name="connsiteY5" fmla="*/ 7483475 h 7485254"/>
              <a:gd name="connsiteX6" fmla="*/ 0 w 6843713"/>
              <a:gd name="connsiteY6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4946651 w 6843713"/>
              <a:gd name="connsiteY5" fmla="*/ 6618286 h 7485254"/>
              <a:gd name="connsiteX6" fmla="*/ 0 w 6843713"/>
              <a:gd name="connsiteY6" fmla="*/ 7483475 h 7485254"/>
              <a:gd name="connsiteX7" fmla="*/ 0 w 6843713"/>
              <a:gd name="connsiteY7" fmla="*/ 0 h 748525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9189"/>
              <a:gd name="connsiteX1" fmla="*/ 6843713 w 6843713"/>
              <a:gd name="connsiteY1" fmla="*/ 0 h 7489189"/>
              <a:gd name="connsiteX2" fmla="*/ 6843713 w 6843713"/>
              <a:gd name="connsiteY2" fmla="*/ 7483475 h 7489189"/>
              <a:gd name="connsiteX3" fmla="*/ 6663532 w 6843713"/>
              <a:gd name="connsiteY3" fmla="*/ 7485062 h 7489189"/>
              <a:gd name="connsiteX4" fmla="*/ 6658770 w 6843713"/>
              <a:gd name="connsiteY4" fmla="*/ 6613524 h 7489189"/>
              <a:gd name="connsiteX5" fmla="*/ 4946651 w 6843713"/>
              <a:gd name="connsiteY5" fmla="*/ 6618286 h 7489189"/>
              <a:gd name="connsiteX6" fmla="*/ 4956335 w 6843713"/>
              <a:gd name="connsiteY6" fmla="*/ 7489189 h 7489189"/>
              <a:gd name="connsiteX7" fmla="*/ 0 w 6843713"/>
              <a:gd name="connsiteY7" fmla="*/ 7483475 h 7489189"/>
              <a:gd name="connsiteX8" fmla="*/ 0 w 6843713"/>
              <a:gd name="connsiteY8" fmla="*/ 0 h 7489189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3243301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3243301 w 6843713"/>
              <a:gd name="connsiteY8" fmla="*/ 0 h 7486807"/>
              <a:gd name="connsiteX0" fmla="*/ 0 w 3600412"/>
              <a:gd name="connsiteY0" fmla="*/ 0 h 7496175"/>
              <a:gd name="connsiteX1" fmla="*/ 3600412 w 3600412"/>
              <a:gd name="connsiteY1" fmla="*/ 0 h 7496175"/>
              <a:gd name="connsiteX2" fmla="*/ 3600412 w 3600412"/>
              <a:gd name="connsiteY2" fmla="*/ 7483475 h 7496175"/>
              <a:gd name="connsiteX3" fmla="*/ 3420231 w 3600412"/>
              <a:gd name="connsiteY3" fmla="*/ 7482681 h 7496175"/>
              <a:gd name="connsiteX4" fmla="*/ 3420231 w 3600412"/>
              <a:gd name="connsiteY4" fmla="*/ 6618287 h 7496175"/>
              <a:gd name="connsiteX5" fmla="*/ 1703350 w 3600412"/>
              <a:gd name="connsiteY5" fmla="*/ 6618286 h 7496175"/>
              <a:gd name="connsiteX6" fmla="*/ 1703509 w 3600412"/>
              <a:gd name="connsiteY6" fmla="*/ 7486807 h 7496175"/>
              <a:gd name="connsiteX7" fmla="*/ 25338 w 3600412"/>
              <a:gd name="connsiteY7" fmla="*/ 7496175 h 7496175"/>
              <a:gd name="connsiteX8" fmla="*/ 0 w 3600412"/>
              <a:gd name="connsiteY8" fmla="*/ 0 h 7496175"/>
              <a:gd name="connsiteX0" fmla="*/ 1266915 w 3575074"/>
              <a:gd name="connsiteY0" fmla="*/ 3340100 h 7496175"/>
              <a:gd name="connsiteX1" fmla="*/ 3575074 w 3575074"/>
              <a:gd name="connsiteY1" fmla="*/ 0 h 7496175"/>
              <a:gd name="connsiteX2" fmla="*/ 3575074 w 3575074"/>
              <a:gd name="connsiteY2" fmla="*/ 7483475 h 7496175"/>
              <a:gd name="connsiteX3" fmla="*/ 3394893 w 3575074"/>
              <a:gd name="connsiteY3" fmla="*/ 7482681 h 7496175"/>
              <a:gd name="connsiteX4" fmla="*/ 3394893 w 3575074"/>
              <a:gd name="connsiteY4" fmla="*/ 6618287 h 7496175"/>
              <a:gd name="connsiteX5" fmla="*/ 1678012 w 3575074"/>
              <a:gd name="connsiteY5" fmla="*/ 6618286 h 7496175"/>
              <a:gd name="connsiteX6" fmla="*/ 1678171 w 3575074"/>
              <a:gd name="connsiteY6" fmla="*/ 7486807 h 7496175"/>
              <a:gd name="connsiteX7" fmla="*/ 0 w 3575074"/>
              <a:gd name="connsiteY7" fmla="*/ 7496175 h 7496175"/>
              <a:gd name="connsiteX8" fmla="*/ 1266915 w 3575074"/>
              <a:gd name="connsiteY8" fmla="*/ 3340100 h 7496175"/>
              <a:gd name="connsiteX0" fmla="*/ 1266915 w 3575074"/>
              <a:gd name="connsiteY0" fmla="*/ 25400 h 4181475"/>
              <a:gd name="connsiteX1" fmla="*/ 3562405 w 3575074"/>
              <a:gd name="connsiteY1" fmla="*/ 0 h 4181475"/>
              <a:gd name="connsiteX2" fmla="*/ 3575074 w 3575074"/>
              <a:gd name="connsiteY2" fmla="*/ 4168775 h 4181475"/>
              <a:gd name="connsiteX3" fmla="*/ 3394893 w 3575074"/>
              <a:gd name="connsiteY3" fmla="*/ 4167981 h 4181475"/>
              <a:gd name="connsiteX4" fmla="*/ 3394893 w 3575074"/>
              <a:gd name="connsiteY4" fmla="*/ 3303587 h 4181475"/>
              <a:gd name="connsiteX5" fmla="*/ 1678012 w 3575074"/>
              <a:gd name="connsiteY5" fmla="*/ 3303586 h 4181475"/>
              <a:gd name="connsiteX6" fmla="*/ 1678171 w 3575074"/>
              <a:gd name="connsiteY6" fmla="*/ 4172107 h 4181475"/>
              <a:gd name="connsiteX7" fmla="*/ 0 w 3575074"/>
              <a:gd name="connsiteY7" fmla="*/ 4181475 h 4181475"/>
              <a:gd name="connsiteX8" fmla="*/ 1266915 w 3575074"/>
              <a:gd name="connsiteY8" fmla="*/ 25400 h 4181475"/>
              <a:gd name="connsiteX0" fmla="*/ 1 w 2308160"/>
              <a:gd name="connsiteY0" fmla="*/ 25400 h 4194175"/>
              <a:gd name="connsiteX1" fmla="*/ 2295491 w 2308160"/>
              <a:gd name="connsiteY1" fmla="*/ 0 h 4194175"/>
              <a:gd name="connsiteX2" fmla="*/ 2308160 w 2308160"/>
              <a:gd name="connsiteY2" fmla="*/ 4168775 h 4194175"/>
              <a:gd name="connsiteX3" fmla="*/ 2127979 w 2308160"/>
              <a:gd name="connsiteY3" fmla="*/ 4167981 h 4194175"/>
              <a:gd name="connsiteX4" fmla="*/ 2127979 w 2308160"/>
              <a:gd name="connsiteY4" fmla="*/ 3303587 h 4194175"/>
              <a:gd name="connsiteX5" fmla="*/ 411098 w 2308160"/>
              <a:gd name="connsiteY5" fmla="*/ 3303586 h 4194175"/>
              <a:gd name="connsiteX6" fmla="*/ 411257 w 2308160"/>
              <a:gd name="connsiteY6" fmla="*/ 4172107 h 4194175"/>
              <a:gd name="connsiteX7" fmla="*/ 0 w 2308160"/>
              <a:gd name="connsiteY7" fmla="*/ 4194175 h 4194175"/>
              <a:gd name="connsiteX8" fmla="*/ 1 w 2308160"/>
              <a:gd name="connsiteY8" fmla="*/ 25400 h 4194175"/>
              <a:gd name="connsiteX0" fmla="*/ 23755 w 2308160"/>
              <a:gd name="connsiteY0" fmla="*/ 0 h 4211638"/>
              <a:gd name="connsiteX1" fmla="*/ 2295491 w 2308160"/>
              <a:gd name="connsiteY1" fmla="*/ 17463 h 4211638"/>
              <a:gd name="connsiteX2" fmla="*/ 2308160 w 2308160"/>
              <a:gd name="connsiteY2" fmla="*/ 4186238 h 4211638"/>
              <a:gd name="connsiteX3" fmla="*/ 2127979 w 2308160"/>
              <a:gd name="connsiteY3" fmla="*/ 4185444 h 4211638"/>
              <a:gd name="connsiteX4" fmla="*/ 2127979 w 2308160"/>
              <a:gd name="connsiteY4" fmla="*/ 3321050 h 4211638"/>
              <a:gd name="connsiteX5" fmla="*/ 411098 w 2308160"/>
              <a:gd name="connsiteY5" fmla="*/ 3321049 h 4211638"/>
              <a:gd name="connsiteX6" fmla="*/ 411257 w 2308160"/>
              <a:gd name="connsiteY6" fmla="*/ 4189570 h 4211638"/>
              <a:gd name="connsiteX7" fmla="*/ 0 w 2308160"/>
              <a:gd name="connsiteY7" fmla="*/ 4211638 h 4211638"/>
              <a:gd name="connsiteX8" fmla="*/ 23755 w 2308160"/>
              <a:gd name="connsiteY8" fmla="*/ 0 h 4211638"/>
              <a:gd name="connsiteX0" fmla="*/ 28507 w 2308160"/>
              <a:gd name="connsiteY0" fmla="*/ 0 h 4206875"/>
              <a:gd name="connsiteX1" fmla="*/ 2295491 w 2308160"/>
              <a:gd name="connsiteY1" fmla="*/ 12700 h 4206875"/>
              <a:gd name="connsiteX2" fmla="*/ 2308160 w 2308160"/>
              <a:gd name="connsiteY2" fmla="*/ 4181475 h 4206875"/>
              <a:gd name="connsiteX3" fmla="*/ 2127979 w 2308160"/>
              <a:gd name="connsiteY3" fmla="*/ 4180681 h 4206875"/>
              <a:gd name="connsiteX4" fmla="*/ 2127979 w 2308160"/>
              <a:gd name="connsiteY4" fmla="*/ 3316287 h 4206875"/>
              <a:gd name="connsiteX5" fmla="*/ 411098 w 2308160"/>
              <a:gd name="connsiteY5" fmla="*/ 3316286 h 4206875"/>
              <a:gd name="connsiteX6" fmla="*/ 411257 w 2308160"/>
              <a:gd name="connsiteY6" fmla="*/ 4184807 h 4206875"/>
              <a:gd name="connsiteX7" fmla="*/ 0 w 2308160"/>
              <a:gd name="connsiteY7" fmla="*/ 4206875 h 4206875"/>
              <a:gd name="connsiteX8" fmla="*/ 28507 w 2308160"/>
              <a:gd name="connsiteY8" fmla="*/ 0 h 4206875"/>
              <a:gd name="connsiteX0" fmla="*/ 28507 w 2314495"/>
              <a:gd name="connsiteY0" fmla="*/ 1587 h 4208462"/>
              <a:gd name="connsiteX1" fmla="*/ 2314495 w 2314495"/>
              <a:gd name="connsiteY1" fmla="*/ 0 h 4208462"/>
              <a:gd name="connsiteX2" fmla="*/ 2308160 w 2314495"/>
              <a:gd name="connsiteY2" fmla="*/ 4183062 h 4208462"/>
              <a:gd name="connsiteX3" fmla="*/ 2127979 w 2314495"/>
              <a:gd name="connsiteY3" fmla="*/ 4182268 h 4208462"/>
              <a:gd name="connsiteX4" fmla="*/ 2127979 w 2314495"/>
              <a:gd name="connsiteY4" fmla="*/ 3317874 h 4208462"/>
              <a:gd name="connsiteX5" fmla="*/ 411098 w 2314495"/>
              <a:gd name="connsiteY5" fmla="*/ 3317873 h 4208462"/>
              <a:gd name="connsiteX6" fmla="*/ 411257 w 2314495"/>
              <a:gd name="connsiteY6" fmla="*/ 4186394 h 4208462"/>
              <a:gd name="connsiteX7" fmla="*/ 0 w 2314495"/>
              <a:gd name="connsiteY7" fmla="*/ 4208462 h 4208462"/>
              <a:gd name="connsiteX8" fmla="*/ 28507 w 2314495"/>
              <a:gd name="connsiteY8" fmla="*/ 1587 h 4208462"/>
              <a:gd name="connsiteX0" fmla="*/ 28507 w 2308543"/>
              <a:gd name="connsiteY0" fmla="*/ 0 h 4206875"/>
              <a:gd name="connsiteX1" fmla="*/ 2304993 w 2308543"/>
              <a:gd name="connsiteY1" fmla="*/ 3176 h 4206875"/>
              <a:gd name="connsiteX2" fmla="*/ 2308160 w 2308543"/>
              <a:gd name="connsiteY2" fmla="*/ 4181475 h 4206875"/>
              <a:gd name="connsiteX3" fmla="*/ 2127979 w 2308543"/>
              <a:gd name="connsiteY3" fmla="*/ 4180681 h 4206875"/>
              <a:gd name="connsiteX4" fmla="*/ 2127979 w 2308543"/>
              <a:gd name="connsiteY4" fmla="*/ 3316287 h 4206875"/>
              <a:gd name="connsiteX5" fmla="*/ 411098 w 2308543"/>
              <a:gd name="connsiteY5" fmla="*/ 3316286 h 4206875"/>
              <a:gd name="connsiteX6" fmla="*/ 411257 w 2308543"/>
              <a:gd name="connsiteY6" fmla="*/ 4184807 h 4206875"/>
              <a:gd name="connsiteX7" fmla="*/ 0 w 2308543"/>
              <a:gd name="connsiteY7" fmla="*/ 4206875 h 4206875"/>
              <a:gd name="connsiteX8" fmla="*/ 28507 w 2308543"/>
              <a:gd name="connsiteY8" fmla="*/ 0 h 4206875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73538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099472 w 2280036"/>
              <a:gd name="connsiteY4" fmla="*/ 3316287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106598 w 2280036"/>
              <a:gd name="connsiteY4" fmla="*/ 3311525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1847 w 2280036"/>
              <a:gd name="connsiteY4" fmla="*/ 3316288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82591 w 2280036"/>
              <a:gd name="connsiteY5" fmla="*/ 3316286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2093 w 2280036"/>
              <a:gd name="connsiteY5" fmla="*/ 33186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54546 w 2280036"/>
              <a:gd name="connsiteY4" fmla="*/ 4104480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2639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6032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47211 w 2280036"/>
              <a:gd name="connsiteY3" fmla="*/ 416163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97327 w 2280036"/>
              <a:gd name="connsiteY3" fmla="*/ 4118768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64071 w 2280036"/>
              <a:gd name="connsiteY3" fmla="*/ 4130674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75950 w 2280036"/>
              <a:gd name="connsiteY3" fmla="*/ 4104480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055 w 2280036"/>
              <a:gd name="connsiteY3" fmla="*/ 3813175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3430 w 2280036"/>
              <a:gd name="connsiteY3" fmla="*/ 3810793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91618"/>
              <a:gd name="connsiteX1" fmla="*/ 2276486 w 2280036"/>
              <a:gd name="connsiteY1" fmla="*/ 3176 h 4191618"/>
              <a:gd name="connsiteX2" fmla="*/ 2279653 w 2280036"/>
              <a:gd name="connsiteY2" fmla="*/ 4181475 h 4191618"/>
              <a:gd name="connsiteX3" fmla="*/ 2099910 w 2280036"/>
              <a:gd name="connsiteY3" fmla="*/ 4180680 h 4191618"/>
              <a:gd name="connsiteX4" fmla="*/ 2103430 w 2280036"/>
              <a:gd name="connsiteY4" fmla="*/ 3810793 h 4191618"/>
              <a:gd name="connsiteX5" fmla="*/ 392093 w 2280036"/>
              <a:gd name="connsiteY5" fmla="*/ 3813967 h 4191618"/>
              <a:gd name="connsiteX6" fmla="*/ 389876 w 2280036"/>
              <a:gd name="connsiteY6" fmla="*/ 4180045 h 4191618"/>
              <a:gd name="connsiteX7" fmla="*/ 4750 w 2280036"/>
              <a:gd name="connsiteY7" fmla="*/ 4183063 h 4191618"/>
              <a:gd name="connsiteX8" fmla="*/ 0 w 2280036"/>
              <a:gd name="connsiteY8" fmla="*/ 0 h 4191618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5805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5805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1827876 w 2279653"/>
              <a:gd name="connsiteY4" fmla="*/ 3915568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1055 w 2279653"/>
              <a:gd name="connsiteY4" fmla="*/ 3813174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8863 w 2279653"/>
              <a:gd name="connsiteY1" fmla="*/ 794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1055 w 2279653"/>
              <a:gd name="connsiteY4" fmla="*/ 3813174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7276"/>
              <a:gd name="connsiteY0" fmla="*/ 0 h 4185445"/>
              <a:gd name="connsiteX1" fmla="*/ 2276486 w 2277276"/>
              <a:gd name="connsiteY1" fmla="*/ 3176 h 4185445"/>
              <a:gd name="connsiteX2" fmla="*/ 2277276 w 2277276"/>
              <a:gd name="connsiteY2" fmla="*/ 4183857 h 4185445"/>
              <a:gd name="connsiteX3" fmla="*/ 2097533 w 2277276"/>
              <a:gd name="connsiteY3" fmla="*/ 4183062 h 4185445"/>
              <a:gd name="connsiteX4" fmla="*/ 2098678 w 2277276"/>
              <a:gd name="connsiteY4" fmla="*/ 3815556 h 4185445"/>
              <a:gd name="connsiteX5" fmla="*/ 389716 w 2277276"/>
              <a:gd name="connsiteY5" fmla="*/ 3816349 h 4185445"/>
              <a:gd name="connsiteX6" fmla="*/ 387499 w 2277276"/>
              <a:gd name="connsiteY6" fmla="*/ 4182427 h 4185445"/>
              <a:gd name="connsiteX7" fmla="*/ 2373 w 2277276"/>
              <a:gd name="connsiteY7" fmla="*/ 4185445 h 4185445"/>
              <a:gd name="connsiteX8" fmla="*/ 0 w 2277276"/>
              <a:gd name="connsiteY8" fmla="*/ 0 h 4185445"/>
              <a:gd name="connsiteX0" fmla="*/ 461 w 2275360"/>
              <a:gd name="connsiteY0" fmla="*/ 0 h 4183063"/>
              <a:gd name="connsiteX1" fmla="*/ 2274570 w 2275360"/>
              <a:gd name="connsiteY1" fmla="*/ 794 h 4183063"/>
              <a:gd name="connsiteX2" fmla="*/ 2275360 w 2275360"/>
              <a:gd name="connsiteY2" fmla="*/ 4181475 h 4183063"/>
              <a:gd name="connsiteX3" fmla="*/ 2095617 w 2275360"/>
              <a:gd name="connsiteY3" fmla="*/ 4180680 h 4183063"/>
              <a:gd name="connsiteX4" fmla="*/ 2096762 w 2275360"/>
              <a:gd name="connsiteY4" fmla="*/ 3813174 h 4183063"/>
              <a:gd name="connsiteX5" fmla="*/ 387800 w 2275360"/>
              <a:gd name="connsiteY5" fmla="*/ 3813967 h 4183063"/>
              <a:gd name="connsiteX6" fmla="*/ 385583 w 2275360"/>
              <a:gd name="connsiteY6" fmla="*/ 4180045 h 4183063"/>
              <a:gd name="connsiteX7" fmla="*/ 457 w 2275360"/>
              <a:gd name="connsiteY7" fmla="*/ 4183063 h 4183063"/>
              <a:gd name="connsiteX8" fmla="*/ 461 w 2275360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387343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289915 w 2274903"/>
              <a:gd name="connsiteY5" fmla="*/ 3737738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7536 w 2274903"/>
              <a:gd name="connsiteY3" fmla="*/ 4183063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7536 w 2274903"/>
              <a:gd name="connsiteY3" fmla="*/ 4183063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92592"/>
              <a:gd name="connsiteX1" fmla="*/ 2274113 w 2274903"/>
              <a:gd name="connsiteY1" fmla="*/ 794 h 4192592"/>
              <a:gd name="connsiteX2" fmla="*/ 2274903 w 2274903"/>
              <a:gd name="connsiteY2" fmla="*/ 4181475 h 4192592"/>
              <a:gd name="connsiteX3" fmla="*/ 2097536 w 2274903"/>
              <a:gd name="connsiteY3" fmla="*/ 4183063 h 4192592"/>
              <a:gd name="connsiteX4" fmla="*/ 2096305 w 2274903"/>
              <a:gd name="connsiteY4" fmla="*/ 3813174 h 4192592"/>
              <a:gd name="connsiteX5" fmla="*/ 384966 w 2274903"/>
              <a:gd name="connsiteY5" fmla="*/ 3813967 h 4192592"/>
              <a:gd name="connsiteX6" fmla="*/ 385126 w 2274903"/>
              <a:gd name="connsiteY6" fmla="*/ 4180045 h 4192592"/>
              <a:gd name="connsiteX7" fmla="*/ 0 w 2274903"/>
              <a:gd name="connsiteY7" fmla="*/ 4192592 h 4192592"/>
              <a:gd name="connsiteX8" fmla="*/ 4 w 2274903"/>
              <a:gd name="connsiteY8" fmla="*/ 0 h 419259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096305 w 2274903"/>
              <a:gd name="connsiteY4" fmla="*/ 3813174 h 4196052"/>
              <a:gd name="connsiteX5" fmla="*/ 384966 w 2274903"/>
              <a:gd name="connsiteY5" fmla="*/ 3813967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096305 w 2274903"/>
              <a:gd name="connsiteY4" fmla="*/ 3813174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121652 w 2274903"/>
              <a:gd name="connsiteY4" fmla="*/ 3762355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116547 w 2274903"/>
              <a:gd name="connsiteY3" fmla="*/ 4189415 h 4196052"/>
              <a:gd name="connsiteX4" fmla="*/ 2121652 w 2274903"/>
              <a:gd name="connsiteY4" fmla="*/ 3762355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275"/>
              <a:gd name="connsiteY0" fmla="*/ 0 h 4196052"/>
              <a:gd name="connsiteX1" fmla="*/ 2274113 w 2274275"/>
              <a:gd name="connsiteY1" fmla="*/ 794 h 4196052"/>
              <a:gd name="connsiteX2" fmla="*/ 2271735 w 2274275"/>
              <a:gd name="connsiteY2" fmla="*/ 4191004 h 4196052"/>
              <a:gd name="connsiteX3" fmla="*/ 2116547 w 2274275"/>
              <a:gd name="connsiteY3" fmla="*/ 4189415 h 4196052"/>
              <a:gd name="connsiteX4" fmla="*/ 2121652 w 2274275"/>
              <a:gd name="connsiteY4" fmla="*/ 3762355 h 4196052"/>
              <a:gd name="connsiteX5" fmla="*/ 166348 w 2274275"/>
              <a:gd name="connsiteY5" fmla="*/ 3763148 h 4196052"/>
              <a:gd name="connsiteX6" fmla="*/ 163339 w 2274275"/>
              <a:gd name="connsiteY6" fmla="*/ 4195926 h 4196052"/>
              <a:gd name="connsiteX7" fmla="*/ 0 w 2274275"/>
              <a:gd name="connsiteY7" fmla="*/ 4192592 h 4196052"/>
              <a:gd name="connsiteX8" fmla="*/ 4 w 2274275"/>
              <a:gd name="connsiteY8" fmla="*/ 0 h 4196052"/>
              <a:gd name="connsiteX0" fmla="*/ 4 w 2274275"/>
              <a:gd name="connsiteY0" fmla="*/ 0 h 4198399"/>
              <a:gd name="connsiteX1" fmla="*/ 2274113 w 2274275"/>
              <a:gd name="connsiteY1" fmla="*/ 794 h 4198399"/>
              <a:gd name="connsiteX2" fmla="*/ 2271735 w 2274275"/>
              <a:gd name="connsiteY2" fmla="*/ 4191004 h 4198399"/>
              <a:gd name="connsiteX3" fmla="*/ 2116547 w 2274275"/>
              <a:gd name="connsiteY3" fmla="*/ 4189415 h 4198399"/>
              <a:gd name="connsiteX4" fmla="*/ 2121652 w 2274275"/>
              <a:gd name="connsiteY4" fmla="*/ 3762355 h 4198399"/>
              <a:gd name="connsiteX5" fmla="*/ 166348 w 2274275"/>
              <a:gd name="connsiteY5" fmla="*/ 3763148 h 4198399"/>
              <a:gd name="connsiteX6" fmla="*/ 210799 w 2274275"/>
              <a:gd name="connsiteY6" fmla="*/ 4198309 h 4198399"/>
              <a:gd name="connsiteX7" fmla="*/ 0 w 2274275"/>
              <a:gd name="connsiteY7" fmla="*/ 4192592 h 4198399"/>
              <a:gd name="connsiteX8" fmla="*/ 4 w 2274275"/>
              <a:gd name="connsiteY8" fmla="*/ 0 h 4198399"/>
              <a:gd name="connsiteX0" fmla="*/ 4 w 2274275"/>
              <a:gd name="connsiteY0" fmla="*/ 0 h 4198399"/>
              <a:gd name="connsiteX1" fmla="*/ 2274113 w 2274275"/>
              <a:gd name="connsiteY1" fmla="*/ 794 h 4198399"/>
              <a:gd name="connsiteX2" fmla="*/ 2271735 w 2274275"/>
              <a:gd name="connsiteY2" fmla="*/ 4191004 h 4198399"/>
              <a:gd name="connsiteX3" fmla="*/ 2116547 w 2274275"/>
              <a:gd name="connsiteY3" fmla="*/ 4189415 h 4198399"/>
              <a:gd name="connsiteX4" fmla="*/ 2121652 w 2274275"/>
              <a:gd name="connsiteY4" fmla="*/ 3762355 h 4198399"/>
              <a:gd name="connsiteX5" fmla="*/ 206689 w 2274275"/>
              <a:gd name="connsiteY5" fmla="*/ 3496346 h 4198399"/>
              <a:gd name="connsiteX6" fmla="*/ 210799 w 2274275"/>
              <a:gd name="connsiteY6" fmla="*/ 4198309 h 4198399"/>
              <a:gd name="connsiteX7" fmla="*/ 0 w 2274275"/>
              <a:gd name="connsiteY7" fmla="*/ 4192592 h 4198399"/>
              <a:gd name="connsiteX8" fmla="*/ 4 w 2274275"/>
              <a:gd name="connsiteY8" fmla="*/ 0 h 4198399"/>
              <a:gd name="connsiteX0" fmla="*/ 4 w 2274275"/>
              <a:gd name="connsiteY0" fmla="*/ 0 h 4198399"/>
              <a:gd name="connsiteX1" fmla="*/ 2274113 w 2274275"/>
              <a:gd name="connsiteY1" fmla="*/ 794 h 4198399"/>
              <a:gd name="connsiteX2" fmla="*/ 2271735 w 2274275"/>
              <a:gd name="connsiteY2" fmla="*/ 4191004 h 4198399"/>
              <a:gd name="connsiteX3" fmla="*/ 2116547 w 2274275"/>
              <a:gd name="connsiteY3" fmla="*/ 4189415 h 4198399"/>
              <a:gd name="connsiteX4" fmla="*/ 2114532 w 2274275"/>
              <a:gd name="connsiteY4" fmla="*/ 3495554 h 4198399"/>
              <a:gd name="connsiteX5" fmla="*/ 206689 w 2274275"/>
              <a:gd name="connsiteY5" fmla="*/ 3496346 h 4198399"/>
              <a:gd name="connsiteX6" fmla="*/ 210799 w 2274275"/>
              <a:gd name="connsiteY6" fmla="*/ 4198309 h 4198399"/>
              <a:gd name="connsiteX7" fmla="*/ 0 w 2274275"/>
              <a:gd name="connsiteY7" fmla="*/ 4192592 h 4198399"/>
              <a:gd name="connsiteX8" fmla="*/ 4 w 2274275"/>
              <a:gd name="connsiteY8" fmla="*/ 0 h 419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4275" h="4198399">
                <a:moveTo>
                  <a:pt x="4" y="0"/>
                </a:moveTo>
                <a:lnTo>
                  <a:pt x="2274113" y="794"/>
                </a:lnTo>
                <a:cubicBezTo>
                  <a:pt x="2275169" y="1393560"/>
                  <a:pt x="2270679" y="2798238"/>
                  <a:pt x="2271735" y="4191004"/>
                </a:cubicBezTo>
                <a:lnTo>
                  <a:pt x="2116547" y="4189415"/>
                </a:lnTo>
                <a:cubicBezTo>
                  <a:pt x="2116929" y="4066913"/>
                  <a:pt x="2114150" y="3618056"/>
                  <a:pt x="2114532" y="3495554"/>
                </a:cubicBezTo>
                <a:lnTo>
                  <a:pt x="206689" y="3496346"/>
                </a:lnTo>
                <a:cubicBezTo>
                  <a:pt x="206742" y="3618372"/>
                  <a:pt x="210746" y="4076283"/>
                  <a:pt x="210799" y="4198309"/>
                </a:cubicBezTo>
                <a:cubicBezTo>
                  <a:pt x="82424" y="4199315"/>
                  <a:pt x="128375" y="4191586"/>
                  <a:pt x="0" y="4192592"/>
                </a:cubicBezTo>
                <a:cubicBezTo>
                  <a:pt x="1" y="2798238"/>
                  <a:pt x="3" y="1394354"/>
                  <a:pt x="4" y="0"/>
                </a:cubicBezTo>
                <a:close/>
              </a:path>
            </a:pathLst>
          </a:cu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pic>
        <p:nvPicPr>
          <p:cNvPr id="15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278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367" userDrawn="1">
          <p15:clr>
            <a:srgbClr val="FBAE40"/>
          </p15:clr>
        </p15:guide>
        <p15:guide id="2" orient="horz" pos="591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9538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3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20"/>
          <p:cNvSpPr>
            <a:spLocks noGrp="1"/>
          </p:cNvSpPr>
          <p:nvPr>
            <p:ph type="pic" sz="quarter" idx="12"/>
          </p:nvPr>
        </p:nvSpPr>
        <p:spPr>
          <a:xfrm>
            <a:off x="539750" y="5578475"/>
            <a:ext cx="4383088" cy="1592263"/>
          </a:xfrm>
          <a:prstGeom prst="rect">
            <a:avLst/>
          </a:prstGeom>
          <a:noFill/>
        </p:spPr>
        <p:txBody>
          <a:bodyPr anchor="ctr" anchorCtr="1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de-AT" dirty="0"/>
          </a:p>
        </p:txBody>
      </p:sp>
      <p:sp>
        <p:nvSpPr>
          <p:cNvPr id="19" name="Bildplatzhalter 24"/>
          <p:cNvSpPr>
            <a:spLocks noGrp="1"/>
          </p:cNvSpPr>
          <p:nvPr>
            <p:ph type="pic" sz="quarter" idx="16"/>
          </p:nvPr>
        </p:nvSpPr>
        <p:spPr>
          <a:xfrm>
            <a:off x="539750" y="7292974"/>
            <a:ext cx="4383088" cy="2468563"/>
          </a:xfrm>
          <a:prstGeom prst="rect">
            <a:avLst/>
          </a:prstGeom>
          <a:noFill/>
        </p:spPr>
        <p:txBody>
          <a:bodyPr anchor="ctr" anchorCtr="1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/>
          </p:nvPr>
        </p:nvSpPr>
        <p:spPr>
          <a:xfrm>
            <a:off x="2813303" y="2462214"/>
            <a:ext cx="4387597" cy="2881311"/>
          </a:xfrm>
          <a:prstGeom prst="rect">
            <a:avLst/>
          </a:prstGeom>
        </p:spPr>
        <p:txBody>
          <a:bodyPr/>
          <a:lstStyle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541655" y="2465388"/>
            <a:ext cx="2089150" cy="2878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lnSpc>
                <a:spcPts val="1134"/>
              </a:lnSpc>
              <a:spcBef>
                <a:spcPts val="0"/>
              </a:spcBef>
              <a:spcAft>
                <a:spcPts val="0"/>
              </a:spcAft>
              <a:defRPr sz="850" cap="all" baseline="0"/>
            </a:lvl2pPr>
            <a:lvl3pPr marL="0" indent="0">
              <a:lnSpc>
                <a:spcPts val="1134"/>
              </a:lnSpc>
              <a:spcBef>
                <a:spcPts val="0"/>
              </a:spcBef>
              <a:buFontTx/>
              <a:buNone/>
              <a:defRPr lang="de-DE" sz="8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" indent="-171450">
              <a:lnSpc>
                <a:spcPts val="1134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Char char="●"/>
              <a:defRPr sz="850"/>
            </a:lvl4pPr>
            <a:lvl5pPr marL="282575" indent="-130175">
              <a:lnSpc>
                <a:spcPts val="1134"/>
              </a:lnSpc>
              <a:spcBef>
                <a:spcPts val="0"/>
              </a:spcBef>
              <a:defRPr sz="85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4" name="Titel 3"/>
          <p:cNvSpPr>
            <a:spLocks noGrp="1"/>
          </p:cNvSpPr>
          <p:nvPr userDrawn="1">
            <p:ph type="title" hasCustomPrompt="1"/>
          </p:nvPr>
        </p:nvSpPr>
        <p:spPr>
          <a:xfrm>
            <a:off x="1674812" y="1182688"/>
            <a:ext cx="5521325" cy="900112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e-DE" dirty="0"/>
              <a:t>Titel einfügen (maximal 3-zeilig!)</a:t>
            </a:r>
            <a:endParaRPr lang="de-AT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lnSpc>
                <a:spcPts val="1000"/>
              </a:lnSpc>
              <a:defRPr sz="75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20" name="Textplatzhalter 6"/>
          <p:cNvSpPr>
            <a:spLocks noGrp="1"/>
          </p:cNvSpPr>
          <p:nvPr userDrawn="1"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lnSpc>
                <a:spcPts val="1000"/>
              </a:lnSpc>
              <a:defRPr sz="75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Bildplatzhalter 7"/>
          <p:cNvSpPr>
            <a:spLocks noGrp="1"/>
          </p:cNvSpPr>
          <p:nvPr>
            <p:ph type="pic" sz="quarter" idx="24"/>
          </p:nvPr>
        </p:nvSpPr>
        <p:spPr>
          <a:xfrm>
            <a:off x="5097464" y="5580066"/>
            <a:ext cx="2282196" cy="4196803"/>
          </a:xfrm>
          <a:custGeom>
            <a:avLst/>
            <a:gdLst>
              <a:gd name="connsiteX0" fmla="*/ 0 w 6843713"/>
              <a:gd name="connsiteY0" fmla="*/ 0 h 7483475"/>
              <a:gd name="connsiteX1" fmla="*/ 6843713 w 6843713"/>
              <a:gd name="connsiteY1" fmla="*/ 0 h 7483475"/>
              <a:gd name="connsiteX2" fmla="*/ 6843713 w 6843713"/>
              <a:gd name="connsiteY2" fmla="*/ 7483475 h 7483475"/>
              <a:gd name="connsiteX3" fmla="*/ 0 w 6843713"/>
              <a:gd name="connsiteY3" fmla="*/ 7483475 h 7483475"/>
              <a:gd name="connsiteX4" fmla="*/ 0 w 6843713"/>
              <a:gd name="connsiteY4" fmla="*/ 0 h 7483475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0 w 6843713"/>
              <a:gd name="connsiteY4" fmla="*/ 7483475 h 7485254"/>
              <a:gd name="connsiteX5" fmla="*/ 0 w 6843713"/>
              <a:gd name="connsiteY5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0 w 6843713"/>
              <a:gd name="connsiteY5" fmla="*/ 7483475 h 7485254"/>
              <a:gd name="connsiteX6" fmla="*/ 0 w 6843713"/>
              <a:gd name="connsiteY6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4946651 w 6843713"/>
              <a:gd name="connsiteY5" fmla="*/ 6618286 h 7485254"/>
              <a:gd name="connsiteX6" fmla="*/ 0 w 6843713"/>
              <a:gd name="connsiteY6" fmla="*/ 7483475 h 7485254"/>
              <a:gd name="connsiteX7" fmla="*/ 0 w 6843713"/>
              <a:gd name="connsiteY7" fmla="*/ 0 h 748525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9189"/>
              <a:gd name="connsiteX1" fmla="*/ 6843713 w 6843713"/>
              <a:gd name="connsiteY1" fmla="*/ 0 h 7489189"/>
              <a:gd name="connsiteX2" fmla="*/ 6843713 w 6843713"/>
              <a:gd name="connsiteY2" fmla="*/ 7483475 h 7489189"/>
              <a:gd name="connsiteX3" fmla="*/ 6663532 w 6843713"/>
              <a:gd name="connsiteY3" fmla="*/ 7485062 h 7489189"/>
              <a:gd name="connsiteX4" fmla="*/ 6658770 w 6843713"/>
              <a:gd name="connsiteY4" fmla="*/ 6613524 h 7489189"/>
              <a:gd name="connsiteX5" fmla="*/ 4946651 w 6843713"/>
              <a:gd name="connsiteY5" fmla="*/ 6618286 h 7489189"/>
              <a:gd name="connsiteX6" fmla="*/ 4956335 w 6843713"/>
              <a:gd name="connsiteY6" fmla="*/ 7489189 h 7489189"/>
              <a:gd name="connsiteX7" fmla="*/ 0 w 6843713"/>
              <a:gd name="connsiteY7" fmla="*/ 7483475 h 7489189"/>
              <a:gd name="connsiteX8" fmla="*/ 0 w 6843713"/>
              <a:gd name="connsiteY8" fmla="*/ 0 h 7489189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3243301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3243301 w 6843713"/>
              <a:gd name="connsiteY8" fmla="*/ 0 h 7486807"/>
              <a:gd name="connsiteX0" fmla="*/ 0 w 3600412"/>
              <a:gd name="connsiteY0" fmla="*/ 0 h 7496175"/>
              <a:gd name="connsiteX1" fmla="*/ 3600412 w 3600412"/>
              <a:gd name="connsiteY1" fmla="*/ 0 h 7496175"/>
              <a:gd name="connsiteX2" fmla="*/ 3600412 w 3600412"/>
              <a:gd name="connsiteY2" fmla="*/ 7483475 h 7496175"/>
              <a:gd name="connsiteX3" fmla="*/ 3420231 w 3600412"/>
              <a:gd name="connsiteY3" fmla="*/ 7482681 h 7496175"/>
              <a:gd name="connsiteX4" fmla="*/ 3420231 w 3600412"/>
              <a:gd name="connsiteY4" fmla="*/ 6618287 h 7496175"/>
              <a:gd name="connsiteX5" fmla="*/ 1703350 w 3600412"/>
              <a:gd name="connsiteY5" fmla="*/ 6618286 h 7496175"/>
              <a:gd name="connsiteX6" fmla="*/ 1703509 w 3600412"/>
              <a:gd name="connsiteY6" fmla="*/ 7486807 h 7496175"/>
              <a:gd name="connsiteX7" fmla="*/ 25338 w 3600412"/>
              <a:gd name="connsiteY7" fmla="*/ 7496175 h 7496175"/>
              <a:gd name="connsiteX8" fmla="*/ 0 w 3600412"/>
              <a:gd name="connsiteY8" fmla="*/ 0 h 7496175"/>
              <a:gd name="connsiteX0" fmla="*/ 1266915 w 3575074"/>
              <a:gd name="connsiteY0" fmla="*/ 3340100 h 7496175"/>
              <a:gd name="connsiteX1" fmla="*/ 3575074 w 3575074"/>
              <a:gd name="connsiteY1" fmla="*/ 0 h 7496175"/>
              <a:gd name="connsiteX2" fmla="*/ 3575074 w 3575074"/>
              <a:gd name="connsiteY2" fmla="*/ 7483475 h 7496175"/>
              <a:gd name="connsiteX3" fmla="*/ 3394893 w 3575074"/>
              <a:gd name="connsiteY3" fmla="*/ 7482681 h 7496175"/>
              <a:gd name="connsiteX4" fmla="*/ 3394893 w 3575074"/>
              <a:gd name="connsiteY4" fmla="*/ 6618287 h 7496175"/>
              <a:gd name="connsiteX5" fmla="*/ 1678012 w 3575074"/>
              <a:gd name="connsiteY5" fmla="*/ 6618286 h 7496175"/>
              <a:gd name="connsiteX6" fmla="*/ 1678171 w 3575074"/>
              <a:gd name="connsiteY6" fmla="*/ 7486807 h 7496175"/>
              <a:gd name="connsiteX7" fmla="*/ 0 w 3575074"/>
              <a:gd name="connsiteY7" fmla="*/ 7496175 h 7496175"/>
              <a:gd name="connsiteX8" fmla="*/ 1266915 w 3575074"/>
              <a:gd name="connsiteY8" fmla="*/ 3340100 h 7496175"/>
              <a:gd name="connsiteX0" fmla="*/ 1266915 w 3575074"/>
              <a:gd name="connsiteY0" fmla="*/ 25400 h 4181475"/>
              <a:gd name="connsiteX1" fmla="*/ 3562405 w 3575074"/>
              <a:gd name="connsiteY1" fmla="*/ 0 h 4181475"/>
              <a:gd name="connsiteX2" fmla="*/ 3575074 w 3575074"/>
              <a:gd name="connsiteY2" fmla="*/ 4168775 h 4181475"/>
              <a:gd name="connsiteX3" fmla="*/ 3394893 w 3575074"/>
              <a:gd name="connsiteY3" fmla="*/ 4167981 h 4181475"/>
              <a:gd name="connsiteX4" fmla="*/ 3394893 w 3575074"/>
              <a:gd name="connsiteY4" fmla="*/ 3303587 h 4181475"/>
              <a:gd name="connsiteX5" fmla="*/ 1678012 w 3575074"/>
              <a:gd name="connsiteY5" fmla="*/ 3303586 h 4181475"/>
              <a:gd name="connsiteX6" fmla="*/ 1678171 w 3575074"/>
              <a:gd name="connsiteY6" fmla="*/ 4172107 h 4181475"/>
              <a:gd name="connsiteX7" fmla="*/ 0 w 3575074"/>
              <a:gd name="connsiteY7" fmla="*/ 4181475 h 4181475"/>
              <a:gd name="connsiteX8" fmla="*/ 1266915 w 3575074"/>
              <a:gd name="connsiteY8" fmla="*/ 25400 h 4181475"/>
              <a:gd name="connsiteX0" fmla="*/ 1 w 2308160"/>
              <a:gd name="connsiteY0" fmla="*/ 25400 h 4194175"/>
              <a:gd name="connsiteX1" fmla="*/ 2295491 w 2308160"/>
              <a:gd name="connsiteY1" fmla="*/ 0 h 4194175"/>
              <a:gd name="connsiteX2" fmla="*/ 2308160 w 2308160"/>
              <a:gd name="connsiteY2" fmla="*/ 4168775 h 4194175"/>
              <a:gd name="connsiteX3" fmla="*/ 2127979 w 2308160"/>
              <a:gd name="connsiteY3" fmla="*/ 4167981 h 4194175"/>
              <a:gd name="connsiteX4" fmla="*/ 2127979 w 2308160"/>
              <a:gd name="connsiteY4" fmla="*/ 3303587 h 4194175"/>
              <a:gd name="connsiteX5" fmla="*/ 411098 w 2308160"/>
              <a:gd name="connsiteY5" fmla="*/ 3303586 h 4194175"/>
              <a:gd name="connsiteX6" fmla="*/ 411257 w 2308160"/>
              <a:gd name="connsiteY6" fmla="*/ 4172107 h 4194175"/>
              <a:gd name="connsiteX7" fmla="*/ 0 w 2308160"/>
              <a:gd name="connsiteY7" fmla="*/ 4194175 h 4194175"/>
              <a:gd name="connsiteX8" fmla="*/ 1 w 2308160"/>
              <a:gd name="connsiteY8" fmla="*/ 25400 h 4194175"/>
              <a:gd name="connsiteX0" fmla="*/ 23755 w 2308160"/>
              <a:gd name="connsiteY0" fmla="*/ 0 h 4211638"/>
              <a:gd name="connsiteX1" fmla="*/ 2295491 w 2308160"/>
              <a:gd name="connsiteY1" fmla="*/ 17463 h 4211638"/>
              <a:gd name="connsiteX2" fmla="*/ 2308160 w 2308160"/>
              <a:gd name="connsiteY2" fmla="*/ 4186238 h 4211638"/>
              <a:gd name="connsiteX3" fmla="*/ 2127979 w 2308160"/>
              <a:gd name="connsiteY3" fmla="*/ 4185444 h 4211638"/>
              <a:gd name="connsiteX4" fmla="*/ 2127979 w 2308160"/>
              <a:gd name="connsiteY4" fmla="*/ 3321050 h 4211638"/>
              <a:gd name="connsiteX5" fmla="*/ 411098 w 2308160"/>
              <a:gd name="connsiteY5" fmla="*/ 3321049 h 4211638"/>
              <a:gd name="connsiteX6" fmla="*/ 411257 w 2308160"/>
              <a:gd name="connsiteY6" fmla="*/ 4189570 h 4211638"/>
              <a:gd name="connsiteX7" fmla="*/ 0 w 2308160"/>
              <a:gd name="connsiteY7" fmla="*/ 4211638 h 4211638"/>
              <a:gd name="connsiteX8" fmla="*/ 23755 w 2308160"/>
              <a:gd name="connsiteY8" fmla="*/ 0 h 4211638"/>
              <a:gd name="connsiteX0" fmla="*/ 28507 w 2308160"/>
              <a:gd name="connsiteY0" fmla="*/ 0 h 4206875"/>
              <a:gd name="connsiteX1" fmla="*/ 2295491 w 2308160"/>
              <a:gd name="connsiteY1" fmla="*/ 12700 h 4206875"/>
              <a:gd name="connsiteX2" fmla="*/ 2308160 w 2308160"/>
              <a:gd name="connsiteY2" fmla="*/ 4181475 h 4206875"/>
              <a:gd name="connsiteX3" fmla="*/ 2127979 w 2308160"/>
              <a:gd name="connsiteY3" fmla="*/ 4180681 h 4206875"/>
              <a:gd name="connsiteX4" fmla="*/ 2127979 w 2308160"/>
              <a:gd name="connsiteY4" fmla="*/ 3316287 h 4206875"/>
              <a:gd name="connsiteX5" fmla="*/ 411098 w 2308160"/>
              <a:gd name="connsiteY5" fmla="*/ 3316286 h 4206875"/>
              <a:gd name="connsiteX6" fmla="*/ 411257 w 2308160"/>
              <a:gd name="connsiteY6" fmla="*/ 4184807 h 4206875"/>
              <a:gd name="connsiteX7" fmla="*/ 0 w 2308160"/>
              <a:gd name="connsiteY7" fmla="*/ 4206875 h 4206875"/>
              <a:gd name="connsiteX8" fmla="*/ 28507 w 2308160"/>
              <a:gd name="connsiteY8" fmla="*/ 0 h 4206875"/>
              <a:gd name="connsiteX0" fmla="*/ 28507 w 2314495"/>
              <a:gd name="connsiteY0" fmla="*/ 1587 h 4208462"/>
              <a:gd name="connsiteX1" fmla="*/ 2314495 w 2314495"/>
              <a:gd name="connsiteY1" fmla="*/ 0 h 4208462"/>
              <a:gd name="connsiteX2" fmla="*/ 2308160 w 2314495"/>
              <a:gd name="connsiteY2" fmla="*/ 4183062 h 4208462"/>
              <a:gd name="connsiteX3" fmla="*/ 2127979 w 2314495"/>
              <a:gd name="connsiteY3" fmla="*/ 4182268 h 4208462"/>
              <a:gd name="connsiteX4" fmla="*/ 2127979 w 2314495"/>
              <a:gd name="connsiteY4" fmla="*/ 3317874 h 4208462"/>
              <a:gd name="connsiteX5" fmla="*/ 411098 w 2314495"/>
              <a:gd name="connsiteY5" fmla="*/ 3317873 h 4208462"/>
              <a:gd name="connsiteX6" fmla="*/ 411257 w 2314495"/>
              <a:gd name="connsiteY6" fmla="*/ 4186394 h 4208462"/>
              <a:gd name="connsiteX7" fmla="*/ 0 w 2314495"/>
              <a:gd name="connsiteY7" fmla="*/ 4208462 h 4208462"/>
              <a:gd name="connsiteX8" fmla="*/ 28507 w 2314495"/>
              <a:gd name="connsiteY8" fmla="*/ 1587 h 4208462"/>
              <a:gd name="connsiteX0" fmla="*/ 28507 w 2308543"/>
              <a:gd name="connsiteY0" fmla="*/ 0 h 4206875"/>
              <a:gd name="connsiteX1" fmla="*/ 2304993 w 2308543"/>
              <a:gd name="connsiteY1" fmla="*/ 3176 h 4206875"/>
              <a:gd name="connsiteX2" fmla="*/ 2308160 w 2308543"/>
              <a:gd name="connsiteY2" fmla="*/ 4181475 h 4206875"/>
              <a:gd name="connsiteX3" fmla="*/ 2127979 w 2308543"/>
              <a:gd name="connsiteY3" fmla="*/ 4180681 h 4206875"/>
              <a:gd name="connsiteX4" fmla="*/ 2127979 w 2308543"/>
              <a:gd name="connsiteY4" fmla="*/ 3316287 h 4206875"/>
              <a:gd name="connsiteX5" fmla="*/ 411098 w 2308543"/>
              <a:gd name="connsiteY5" fmla="*/ 3316286 h 4206875"/>
              <a:gd name="connsiteX6" fmla="*/ 411257 w 2308543"/>
              <a:gd name="connsiteY6" fmla="*/ 4184807 h 4206875"/>
              <a:gd name="connsiteX7" fmla="*/ 0 w 2308543"/>
              <a:gd name="connsiteY7" fmla="*/ 4206875 h 4206875"/>
              <a:gd name="connsiteX8" fmla="*/ 28507 w 2308543"/>
              <a:gd name="connsiteY8" fmla="*/ 0 h 4206875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73538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099472 w 2280036"/>
              <a:gd name="connsiteY4" fmla="*/ 3316287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106598 w 2280036"/>
              <a:gd name="connsiteY4" fmla="*/ 3311525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1847 w 2280036"/>
              <a:gd name="connsiteY4" fmla="*/ 3316288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82591 w 2280036"/>
              <a:gd name="connsiteY5" fmla="*/ 3316286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2093 w 2280036"/>
              <a:gd name="connsiteY5" fmla="*/ 33186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54546 w 2280036"/>
              <a:gd name="connsiteY4" fmla="*/ 4104480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2639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6032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47211 w 2280036"/>
              <a:gd name="connsiteY3" fmla="*/ 416163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97327 w 2280036"/>
              <a:gd name="connsiteY3" fmla="*/ 4118768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64071 w 2280036"/>
              <a:gd name="connsiteY3" fmla="*/ 4130674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75950 w 2280036"/>
              <a:gd name="connsiteY3" fmla="*/ 4104480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055 w 2280036"/>
              <a:gd name="connsiteY3" fmla="*/ 3813175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3430 w 2280036"/>
              <a:gd name="connsiteY3" fmla="*/ 3810793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91618"/>
              <a:gd name="connsiteX1" fmla="*/ 2276486 w 2280036"/>
              <a:gd name="connsiteY1" fmla="*/ 3176 h 4191618"/>
              <a:gd name="connsiteX2" fmla="*/ 2279653 w 2280036"/>
              <a:gd name="connsiteY2" fmla="*/ 4181475 h 4191618"/>
              <a:gd name="connsiteX3" fmla="*/ 2099910 w 2280036"/>
              <a:gd name="connsiteY3" fmla="*/ 4180680 h 4191618"/>
              <a:gd name="connsiteX4" fmla="*/ 2103430 w 2280036"/>
              <a:gd name="connsiteY4" fmla="*/ 3810793 h 4191618"/>
              <a:gd name="connsiteX5" fmla="*/ 392093 w 2280036"/>
              <a:gd name="connsiteY5" fmla="*/ 3813967 h 4191618"/>
              <a:gd name="connsiteX6" fmla="*/ 389876 w 2280036"/>
              <a:gd name="connsiteY6" fmla="*/ 4180045 h 4191618"/>
              <a:gd name="connsiteX7" fmla="*/ 4750 w 2280036"/>
              <a:gd name="connsiteY7" fmla="*/ 4183063 h 4191618"/>
              <a:gd name="connsiteX8" fmla="*/ 0 w 2280036"/>
              <a:gd name="connsiteY8" fmla="*/ 0 h 4191618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5805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5805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1827876 w 2279653"/>
              <a:gd name="connsiteY4" fmla="*/ 3915568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1055 w 2279653"/>
              <a:gd name="connsiteY4" fmla="*/ 3813174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8863 w 2279653"/>
              <a:gd name="connsiteY1" fmla="*/ 794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1055 w 2279653"/>
              <a:gd name="connsiteY4" fmla="*/ 3813174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7276"/>
              <a:gd name="connsiteY0" fmla="*/ 0 h 4185445"/>
              <a:gd name="connsiteX1" fmla="*/ 2276486 w 2277276"/>
              <a:gd name="connsiteY1" fmla="*/ 3176 h 4185445"/>
              <a:gd name="connsiteX2" fmla="*/ 2277276 w 2277276"/>
              <a:gd name="connsiteY2" fmla="*/ 4183857 h 4185445"/>
              <a:gd name="connsiteX3" fmla="*/ 2097533 w 2277276"/>
              <a:gd name="connsiteY3" fmla="*/ 4183062 h 4185445"/>
              <a:gd name="connsiteX4" fmla="*/ 2098678 w 2277276"/>
              <a:gd name="connsiteY4" fmla="*/ 3815556 h 4185445"/>
              <a:gd name="connsiteX5" fmla="*/ 389716 w 2277276"/>
              <a:gd name="connsiteY5" fmla="*/ 3816349 h 4185445"/>
              <a:gd name="connsiteX6" fmla="*/ 387499 w 2277276"/>
              <a:gd name="connsiteY6" fmla="*/ 4182427 h 4185445"/>
              <a:gd name="connsiteX7" fmla="*/ 2373 w 2277276"/>
              <a:gd name="connsiteY7" fmla="*/ 4185445 h 4185445"/>
              <a:gd name="connsiteX8" fmla="*/ 0 w 2277276"/>
              <a:gd name="connsiteY8" fmla="*/ 0 h 4185445"/>
              <a:gd name="connsiteX0" fmla="*/ 461 w 2275360"/>
              <a:gd name="connsiteY0" fmla="*/ 0 h 4183063"/>
              <a:gd name="connsiteX1" fmla="*/ 2274570 w 2275360"/>
              <a:gd name="connsiteY1" fmla="*/ 794 h 4183063"/>
              <a:gd name="connsiteX2" fmla="*/ 2275360 w 2275360"/>
              <a:gd name="connsiteY2" fmla="*/ 4181475 h 4183063"/>
              <a:gd name="connsiteX3" fmla="*/ 2095617 w 2275360"/>
              <a:gd name="connsiteY3" fmla="*/ 4180680 h 4183063"/>
              <a:gd name="connsiteX4" fmla="*/ 2096762 w 2275360"/>
              <a:gd name="connsiteY4" fmla="*/ 3813174 h 4183063"/>
              <a:gd name="connsiteX5" fmla="*/ 387800 w 2275360"/>
              <a:gd name="connsiteY5" fmla="*/ 3813967 h 4183063"/>
              <a:gd name="connsiteX6" fmla="*/ 385583 w 2275360"/>
              <a:gd name="connsiteY6" fmla="*/ 4180045 h 4183063"/>
              <a:gd name="connsiteX7" fmla="*/ 457 w 2275360"/>
              <a:gd name="connsiteY7" fmla="*/ 4183063 h 4183063"/>
              <a:gd name="connsiteX8" fmla="*/ 461 w 2275360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387343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289915 w 2274903"/>
              <a:gd name="connsiteY5" fmla="*/ 3737738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7536 w 2274903"/>
              <a:gd name="connsiteY3" fmla="*/ 4183063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7536 w 2274903"/>
              <a:gd name="connsiteY3" fmla="*/ 4183063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92592"/>
              <a:gd name="connsiteX1" fmla="*/ 2274113 w 2274903"/>
              <a:gd name="connsiteY1" fmla="*/ 794 h 4192592"/>
              <a:gd name="connsiteX2" fmla="*/ 2274903 w 2274903"/>
              <a:gd name="connsiteY2" fmla="*/ 4181475 h 4192592"/>
              <a:gd name="connsiteX3" fmla="*/ 2097536 w 2274903"/>
              <a:gd name="connsiteY3" fmla="*/ 4183063 h 4192592"/>
              <a:gd name="connsiteX4" fmla="*/ 2096305 w 2274903"/>
              <a:gd name="connsiteY4" fmla="*/ 3813174 h 4192592"/>
              <a:gd name="connsiteX5" fmla="*/ 384966 w 2274903"/>
              <a:gd name="connsiteY5" fmla="*/ 3813967 h 4192592"/>
              <a:gd name="connsiteX6" fmla="*/ 385126 w 2274903"/>
              <a:gd name="connsiteY6" fmla="*/ 4180045 h 4192592"/>
              <a:gd name="connsiteX7" fmla="*/ 0 w 2274903"/>
              <a:gd name="connsiteY7" fmla="*/ 4192592 h 4192592"/>
              <a:gd name="connsiteX8" fmla="*/ 4 w 2274903"/>
              <a:gd name="connsiteY8" fmla="*/ 0 h 419259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096305 w 2274903"/>
              <a:gd name="connsiteY4" fmla="*/ 3813174 h 4196052"/>
              <a:gd name="connsiteX5" fmla="*/ 384966 w 2274903"/>
              <a:gd name="connsiteY5" fmla="*/ 3813967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096305 w 2274903"/>
              <a:gd name="connsiteY4" fmla="*/ 3813174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121652 w 2274903"/>
              <a:gd name="connsiteY4" fmla="*/ 3762355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116547 w 2274903"/>
              <a:gd name="connsiteY3" fmla="*/ 4189415 h 4196052"/>
              <a:gd name="connsiteX4" fmla="*/ 2121652 w 2274903"/>
              <a:gd name="connsiteY4" fmla="*/ 3762355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275"/>
              <a:gd name="connsiteY0" fmla="*/ 0 h 4196052"/>
              <a:gd name="connsiteX1" fmla="*/ 2274113 w 2274275"/>
              <a:gd name="connsiteY1" fmla="*/ 794 h 4196052"/>
              <a:gd name="connsiteX2" fmla="*/ 2271735 w 2274275"/>
              <a:gd name="connsiteY2" fmla="*/ 4191004 h 4196052"/>
              <a:gd name="connsiteX3" fmla="*/ 2116547 w 2274275"/>
              <a:gd name="connsiteY3" fmla="*/ 4189415 h 4196052"/>
              <a:gd name="connsiteX4" fmla="*/ 2121652 w 2274275"/>
              <a:gd name="connsiteY4" fmla="*/ 3762355 h 4196052"/>
              <a:gd name="connsiteX5" fmla="*/ 166348 w 2274275"/>
              <a:gd name="connsiteY5" fmla="*/ 3763148 h 4196052"/>
              <a:gd name="connsiteX6" fmla="*/ 163339 w 2274275"/>
              <a:gd name="connsiteY6" fmla="*/ 4195926 h 4196052"/>
              <a:gd name="connsiteX7" fmla="*/ 0 w 2274275"/>
              <a:gd name="connsiteY7" fmla="*/ 4192592 h 4196052"/>
              <a:gd name="connsiteX8" fmla="*/ 4 w 2274275"/>
              <a:gd name="connsiteY8" fmla="*/ 0 h 4196052"/>
              <a:gd name="connsiteX0" fmla="*/ 4 w 2274275"/>
              <a:gd name="connsiteY0" fmla="*/ 0 h 4198398"/>
              <a:gd name="connsiteX1" fmla="*/ 2274113 w 2274275"/>
              <a:gd name="connsiteY1" fmla="*/ 794 h 4198398"/>
              <a:gd name="connsiteX2" fmla="*/ 2271735 w 2274275"/>
              <a:gd name="connsiteY2" fmla="*/ 4191004 h 4198398"/>
              <a:gd name="connsiteX3" fmla="*/ 2116547 w 2274275"/>
              <a:gd name="connsiteY3" fmla="*/ 4189415 h 4198398"/>
              <a:gd name="connsiteX4" fmla="*/ 2121652 w 2274275"/>
              <a:gd name="connsiteY4" fmla="*/ 3762355 h 4198398"/>
              <a:gd name="connsiteX5" fmla="*/ 166348 w 2274275"/>
              <a:gd name="connsiteY5" fmla="*/ 3763148 h 4198398"/>
              <a:gd name="connsiteX6" fmla="*/ 203680 w 2274275"/>
              <a:gd name="connsiteY6" fmla="*/ 4198308 h 4198398"/>
              <a:gd name="connsiteX7" fmla="*/ 0 w 2274275"/>
              <a:gd name="connsiteY7" fmla="*/ 4192592 h 4198398"/>
              <a:gd name="connsiteX8" fmla="*/ 4 w 2274275"/>
              <a:gd name="connsiteY8" fmla="*/ 0 h 4198398"/>
              <a:gd name="connsiteX0" fmla="*/ 4 w 2274275"/>
              <a:gd name="connsiteY0" fmla="*/ 0 h 4198398"/>
              <a:gd name="connsiteX1" fmla="*/ 2274113 w 2274275"/>
              <a:gd name="connsiteY1" fmla="*/ 794 h 4198398"/>
              <a:gd name="connsiteX2" fmla="*/ 2271735 w 2274275"/>
              <a:gd name="connsiteY2" fmla="*/ 4191004 h 4198398"/>
              <a:gd name="connsiteX3" fmla="*/ 2116547 w 2274275"/>
              <a:gd name="connsiteY3" fmla="*/ 4189415 h 4198398"/>
              <a:gd name="connsiteX4" fmla="*/ 2121652 w 2274275"/>
              <a:gd name="connsiteY4" fmla="*/ 3762355 h 4198398"/>
              <a:gd name="connsiteX5" fmla="*/ 209061 w 2274275"/>
              <a:gd name="connsiteY5" fmla="*/ 3493963 h 4198398"/>
              <a:gd name="connsiteX6" fmla="*/ 203680 w 2274275"/>
              <a:gd name="connsiteY6" fmla="*/ 4198308 h 4198398"/>
              <a:gd name="connsiteX7" fmla="*/ 0 w 2274275"/>
              <a:gd name="connsiteY7" fmla="*/ 4192592 h 4198398"/>
              <a:gd name="connsiteX8" fmla="*/ 4 w 2274275"/>
              <a:gd name="connsiteY8" fmla="*/ 0 h 4198398"/>
              <a:gd name="connsiteX0" fmla="*/ 4 w 2274275"/>
              <a:gd name="connsiteY0" fmla="*/ 0 h 4198398"/>
              <a:gd name="connsiteX1" fmla="*/ 2274113 w 2274275"/>
              <a:gd name="connsiteY1" fmla="*/ 794 h 4198398"/>
              <a:gd name="connsiteX2" fmla="*/ 2271735 w 2274275"/>
              <a:gd name="connsiteY2" fmla="*/ 4191004 h 4198398"/>
              <a:gd name="connsiteX3" fmla="*/ 2116547 w 2274275"/>
              <a:gd name="connsiteY3" fmla="*/ 4189415 h 4198398"/>
              <a:gd name="connsiteX4" fmla="*/ 2109787 w 2274275"/>
              <a:gd name="connsiteY4" fmla="*/ 3495554 h 4198398"/>
              <a:gd name="connsiteX5" fmla="*/ 209061 w 2274275"/>
              <a:gd name="connsiteY5" fmla="*/ 3493963 h 4198398"/>
              <a:gd name="connsiteX6" fmla="*/ 203680 w 2274275"/>
              <a:gd name="connsiteY6" fmla="*/ 4198308 h 4198398"/>
              <a:gd name="connsiteX7" fmla="*/ 0 w 2274275"/>
              <a:gd name="connsiteY7" fmla="*/ 4192592 h 4198398"/>
              <a:gd name="connsiteX8" fmla="*/ 4 w 2274275"/>
              <a:gd name="connsiteY8" fmla="*/ 0 h 4198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4275" h="4198398">
                <a:moveTo>
                  <a:pt x="4" y="0"/>
                </a:moveTo>
                <a:lnTo>
                  <a:pt x="2274113" y="794"/>
                </a:lnTo>
                <a:cubicBezTo>
                  <a:pt x="2275169" y="1393560"/>
                  <a:pt x="2270679" y="2798238"/>
                  <a:pt x="2271735" y="4191004"/>
                </a:cubicBezTo>
                <a:lnTo>
                  <a:pt x="2116547" y="4189415"/>
                </a:lnTo>
                <a:cubicBezTo>
                  <a:pt x="2116929" y="4066913"/>
                  <a:pt x="2109405" y="3618056"/>
                  <a:pt x="2109787" y="3495554"/>
                </a:cubicBezTo>
                <a:lnTo>
                  <a:pt x="209061" y="3493963"/>
                </a:lnTo>
                <a:cubicBezTo>
                  <a:pt x="209114" y="3615989"/>
                  <a:pt x="203627" y="4076282"/>
                  <a:pt x="203680" y="4198308"/>
                </a:cubicBezTo>
                <a:cubicBezTo>
                  <a:pt x="75305" y="4199314"/>
                  <a:pt x="128375" y="4191586"/>
                  <a:pt x="0" y="4192592"/>
                </a:cubicBezTo>
                <a:cubicBezTo>
                  <a:pt x="1" y="2798238"/>
                  <a:pt x="3" y="1394354"/>
                  <a:pt x="4" y="0"/>
                </a:cubicBezTo>
                <a:close/>
              </a:path>
            </a:pathLst>
          </a:cu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pic>
        <p:nvPicPr>
          <p:cNvPr id="15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6687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367" userDrawn="1">
          <p15:clr>
            <a:srgbClr val="FBAE40"/>
          </p15:clr>
        </p15:guide>
        <p15:guide id="2" orient="horz" pos="5916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92772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7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platzhalter 20"/>
          <p:cNvSpPr>
            <a:spLocks noGrp="1"/>
          </p:cNvSpPr>
          <p:nvPr>
            <p:ph type="body" sz="quarter" idx="17"/>
          </p:nvPr>
        </p:nvSpPr>
        <p:spPr>
          <a:xfrm>
            <a:off x="2813303" y="2462214"/>
            <a:ext cx="4387597" cy="2881311"/>
          </a:xfrm>
          <a:prstGeom prst="rect">
            <a:avLst/>
          </a:prstGeom>
        </p:spPr>
        <p:txBody>
          <a:bodyPr/>
          <a:lstStyle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541655" y="2465388"/>
            <a:ext cx="2089150" cy="2878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lnSpc>
                <a:spcPts val="1134"/>
              </a:lnSpc>
              <a:spcBef>
                <a:spcPts val="0"/>
              </a:spcBef>
              <a:spcAft>
                <a:spcPts val="0"/>
              </a:spcAft>
              <a:defRPr sz="850" cap="all" baseline="0"/>
            </a:lvl2pPr>
            <a:lvl3pPr marL="0" indent="0">
              <a:lnSpc>
                <a:spcPts val="1134"/>
              </a:lnSpc>
              <a:spcBef>
                <a:spcPts val="0"/>
              </a:spcBef>
              <a:buFontTx/>
              <a:buNone/>
              <a:defRPr lang="de-DE" sz="8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" indent="-171450">
              <a:lnSpc>
                <a:spcPts val="1134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Char char="●"/>
              <a:defRPr sz="850"/>
            </a:lvl4pPr>
            <a:lvl5pPr marL="282575" indent="-130175">
              <a:lnSpc>
                <a:spcPts val="1134"/>
              </a:lnSpc>
              <a:spcBef>
                <a:spcPts val="0"/>
              </a:spcBef>
              <a:defRPr sz="85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4" name="Titel 3"/>
          <p:cNvSpPr>
            <a:spLocks noGrp="1"/>
          </p:cNvSpPr>
          <p:nvPr userDrawn="1">
            <p:ph type="title" hasCustomPrompt="1"/>
          </p:nvPr>
        </p:nvSpPr>
        <p:spPr>
          <a:xfrm>
            <a:off x="1674812" y="1182688"/>
            <a:ext cx="5521325" cy="900112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e-DE" dirty="0"/>
              <a:t>Titel einfügen (maximal 3-zeilig!)</a:t>
            </a:r>
            <a:endParaRPr lang="de-AT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lnSpc>
                <a:spcPts val="1000"/>
              </a:lnSpc>
              <a:defRPr sz="75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20" name="Textplatzhalter 6"/>
          <p:cNvSpPr>
            <a:spLocks noGrp="1"/>
          </p:cNvSpPr>
          <p:nvPr userDrawn="1"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lnSpc>
                <a:spcPts val="1000"/>
              </a:lnSpc>
              <a:defRPr sz="75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Bildplatzhalter 7"/>
          <p:cNvSpPr>
            <a:spLocks noGrp="1"/>
          </p:cNvSpPr>
          <p:nvPr>
            <p:ph type="pic" sz="quarter" idx="24"/>
          </p:nvPr>
        </p:nvSpPr>
        <p:spPr>
          <a:xfrm>
            <a:off x="2811462" y="5580065"/>
            <a:ext cx="4568197" cy="4197348"/>
          </a:xfrm>
          <a:custGeom>
            <a:avLst/>
            <a:gdLst>
              <a:gd name="connsiteX0" fmla="*/ 0 w 6843713"/>
              <a:gd name="connsiteY0" fmla="*/ 0 h 7483475"/>
              <a:gd name="connsiteX1" fmla="*/ 6843713 w 6843713"/>
              <a:gd name="connsiteY1" fmla="*/ 0 h 7483475"/>
              <a:gd name="connsiteX2" fmla="*/ 6843713 w 6843713"/>
              <a:gd name="connsiteY2" fmla="*/ 7483475 h 7483475"/>
              <a:gd name="connsiteX3" fmla="*/ 0 w 6843713"/>
              <a:gd name="connsiteY3" fmla="*/ 7483475 h 7483475"/>
              <a:gd name="connsiteX4" fmla="*/ 0 w 6843713"/>
              <a:gd name="connsiteY4" fmla="*/ 0 h 7483475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0 w 6843713"/>
              <a:gd name="connsiteY4" fmla="*/ 7483475 h 7485254"/>
              <a:gd name="connsiteX5" fmla="*/ 0 w 6843713"/>
              <a:gd name="connsiteY5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0 w 6843713"/>
              <a:gd name="connsiteY5" fmla="*/ 7483475 h 7485254"/>
              <a:gd name="connsiteX6" fmla="*/ 0 w 6843713"/>
              <a:gd name="connsiteY6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4946651 w 6843713"/>
              <a:gd name="connsiteY5" fmla="*/ 6618286 h 7485254"/>
              <a:gd name="connsiteX6" fmla="*/ 0 w 6843713"/>
              <a:gd name="connsiteY6" fmla="*/ 7483475 h 7485254"/>
              <a:gd name="connsiteX7" fmla="*/ 0 w 6843713"/>
              <a:gd name="connsiteY7" fmla="*/ 0 h 748525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9189"/>
              <a:gd name="connsiteX1" fmla="*/ 6843713 w 6843713"/>
              <a:gd name="connsiteY1" fmla="*/ 0 h 7489189"/>
              <a:gd name="connsiteX2" fmla="*/ 6843713 w 6843713"/>
              <a:gd name="connsiteY2" fmla="*/ 7483475 h 7489189"/>
              <a:gd name="connsiteX3" fmla="*/ 6663532 w 6843713"/>
              <a:gd name="connsiteY3" fmla="*/ 7485062 h 7489189"/>
              <a:gd name="connsiteX4" fmla="*/ 6658770 w 6843713"/>
              <a:gd name="connsiteY4" fmla="*/ 6613524 h 7489189"/>
              <a:gd name="connsiteX5" fmla="*/ 4946651 w 6843713"/>
              <a:gd name="connsiteY5" fmla="*/ 6618286 h 7489189"/>
              <a:gd name="connsiteX6" fmla="*/ 4956335 w 6843713"/>
              <a:gd name="connsiteY6" fmla="*/ 7489189 h 7489189"/>
              <a:gd name="connsiteX7" fmla="*/ 0 w 6843713"/>
              <a:gd name="connsiteY7" fmla="*/ 7483475 h 7489189"/>
              <a:gd name="connsiteX8" fmla="*/ 0 w 6843713"/>
              <a:gd name="connsiteY8" fmla="*/ 0 h 7489189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3243301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3243301 w 6843713"/>
              <a:gd name="connsiteY8" fmla="*/ 0 h 7486807"/>
              <a:gd name="connsiteX0" fmla="*/ 0 w 3600412"/>
              <a:gd name="connsiteY0" fmla="*/ 0 h 7496175"/>
              <a:gd name="connsiteX1" fmla="*/ 3600412 w 3600412"/>
              <a:gd name="connsiteY1" fmla="*/ 0 h 7496175"/>
              <a:gd name="connsiteX2" fmla="*/ 3600412 w 3600412"/>
              <a:gd name="connsiteY2" fmla="*/ 7483475 h 7496175"/>
              <a:gd name="connsiteX3" fmla="*/ 3420231 w 3600412"/>
              <a:gd name="connsiteY3" fmla="*/ 7482681 h 7496175"/>
              <a:gd name="connsiteX4" fmla="*/ 3420231 w 3600412"/>
              <a:gd name="connsiteY4" fmla="*/ 6618287 h 7496175"/>
              <a:gd name="connsiteX5" fmla="*/ 1703350 w 3600412"/>
              <a:gd name="connsiteY5" fmla="*/ 6618286 h 7496175"/>
              <a:gd name="connsiteX6" fmla="*/ 1703509 w 3600412"/>
              <a:gd name="connsiteY6" fmla="*/ 7486807 h 7496175"/>
              <a:gd name="connsiteX7" fmla="*/ 25338 w 3600412"/>
              <a:gd name="connsiteY7" fmla="*/ 7496175 h 7496175"/>
              <a:gd name="connsiteX8" fmla="*/ 0 w 3600412"/>
              <a:gd name="connsiteY8" fmla="*/ 0 h 7496175"/>
              <a:gd name="connsiteX0" fmla="*/ 1266915 w 3575074"/>
              <a:gd name="connsiteY0" fmla="*/ 3340100 h 7496175"/>
              <a:gd name="connsiteX1" fmla="*/ 3575074 w 3575074"/>
              <a:gd name="connsiteY1" fmla="*/ 0 h 7496175"/>
              <a:gd name="connsiteX2" fmla="*/ 3575074 w 3575074"/>
              <a:gd name="connsiteY2" fmla="*/ 7483475 h 7496175"/>
              <a:gd name="connsiteX3" fmla="*/ 3394893 w 3575074"/>
              <a:gd name="connsiteY3" fmla="*/ 7482681 h 7496175"/>
              <a:gd name="connsiteX4" fmla="*/ 3394893 w 3575074"/>
              <a:gd name="connsiteY4" fmla="*/ 6618287 h 7496175"/>
              <a:gd name="connsiteX5" fmla="*/ 1678012 w 3575074"/>
              <a:gd name="connsiteY5" fmla="*/ 6618286 h 7496175"/>
              <a:gd name="connsiteX6" fmla="*/ 1678171 w 3575074"/>
              <a:gd name="connsiteY6" fmla="*/ 7486807 h 7496175"/>
              <a:gd name="connsiteX7" fmla="*/ 0 w 3575074"/>
              <a:gd name="connsiteY7" fmla="*/ 7496175 h 7496175"/>
              <a:gd name="connsiteX8" fmla="*/ 1266915 w 3575074"/>
              <a:gd name="connsiteY8" fmla="*/ 3340100 h 7496175"/>
              <a:gd name="connsiteX0" fmla="*/ 1266915 w 3575074"/>
              <a:gd name="connsiteY0" fmla="*/ 25400 h 4181475"/>
              <a:gd name="connsiteX1" fmla="*/ 3562405 w 3575074"/>
              <a:gd name="connsiteY1" fmla="*/ 0 h 4181475"/>
              <a:gd name="connsiteX2" fmla="*/ 3575074 w 3575074"/>
              <a:gd name="connsiteY2" fmla="*/ 4168775 h 4181475"/>
              <a:gd name="connsiteX3" fmla="*/ 3394893 w 3575074"/>
              <a:gd name="connsiteY3" fmla="*/ 4167981 h 4181475"/>
              <a:gd name="connsiteX4" fmla="*/ 3394893 w 3575074"/>
              <a:gd name="connsiteY4" fmla="*/ 3303587 h 4181475"/>
              <a:gd name="connsiteX5" fmla="*/ 1678012 w 3575074"/>
              <a:gd name="connsiteY5" fmla="*/ 3303586 h 4181475"/>
              <a:gd name="connsiteX6" fmla="*/ 1678171 w 3575074"/>
              <a:gd name="connsiteY6" fmla="*/ 4172107 h 4181475"/>
              <a:gd name="connsiteX7" fmla="*/ 0 w 3575074"/>
              <a:gd name="connsiteY7" fmla="*/ 4181475 h 4181475"/>
              <a:gd name="connsiteX8" fmla="*/ 1266915 w 3575074"/>
              <a:gd name="connsiteY8" fmla="*/ 25400 h 4181475"/>
              <a:gd name="connsiteX0" fmla="*/ 1 w 2308160"/>
              <a:gd name="connsiteY0" fmla="*/ 25400 h 4194175"/>
              <a:gd name="connsiteX1" fmla="*/ 2295491 w 2308160"/>
              <a:gd name="connsiteY1" fmla="*/ 0 h 4194175"/>
              <a:gd name="connsiteX2" fmla="*/ 2308160 w 2308160"/>
              <a:gd name="connsiteY2" fmla="*/ 4168775 h 4194175"/>
              <a:gd name="connsiteX3" fmla="*/ 2127979 w 2308160"/>
              <a:gd name="connsiteY3" fmla="*/ 4167981 h 4194175"/>
              <a:gd name="connsiteX4" fmla="*/ 2127979 w 2308160"/>
              <a:gd name="connsiteY4" fmla="*/ 3303587 h 4194175"/>
              <a:gd name="connsiteX5" fmla="*/ 411098 w 2308160"/>
              <a:gd name="connsiteY5" fmla="*/ 3303586 h 4194175"/>
              <a:gd name="connsiteX6" fmla="*/ 411257 w 2308160"/>
              <a:gd name="connsiteY6" fmla="*/ 4172107 h 4194175"/>
              <a:gd name="connsiteX7" fmla="*/ 0 w 2308160"/>
              <a:gd name="connsiteY7" fmla="*/ 4194175 h 4194175"/>
              <a:gd name="connsiteX8" fmla="*/ 1 w 2308160"/>
              <a:gd name="connsiteY8" fmla="*/ 25400 h 4194175"/>
              <a:gd name="connsiteX0" fmla="*/ 23755 w 2308160"/>
              <a:gd name="connsiteY0" fmla="*/ 0 h 4211638"/>
              <a:gd name="connsiteX1" fmla="*/ 2295491 w 2308160"/>
              <a:gd name="connsiteY1" fmla="*/ 17463 h 4211638"/>
              <a:gd name="connsiteX2" fmla="*/ 2308160 w 2308160"/>
              <a:gd name="connsiteY2" fmla="*/ 4186238 h 4211638"/>
              <a:gd name="connsiteX3" fmla="*/ 2127979 w 2308160"/>
              <a:gd name="connsiteY3" fmla="*/ 4185444 h 4211638"/>
              <a:gd name="connsiteX4" fmla="*/ 2127979 w 2308160"/>
              <a:gd name="connsiteY4" fmla="*/ 3321050 h 4211638"/>
              <a:gd name="connsiteX5" fmla="*/ 411098 w 2308160"/>
              <a:gd name="connsiteY5" fmla="*/ 3321049 h 4211638"/>
              <a:gd name="connsiteX6" fmla="*/ 411257 w 2308160"/>
              <a:gd name="connsiteY6" fmla="*/ 4189570 h 4211638"/>
              <a:gd name="connsiteX7" fmla="*/ 0 w 2308160"/>
              <a:gd name="connsiteY7" fmla="*/ 4211638 h 4211638"/>
              <a:gd name="connsiteX8" fmla="*/ 23755 w 2308160"/>
              <a:gd name="connsiteY8" fmla="*/ 0 h 4211638"/>
              <a:gd name="connsiteX0" fmla="*/ 28507 w 2308160"/>
              <a:gd name="connsiteY0" fmla="*/ 0 h 4206875"/>
              <a:gd name="connsiteX1" fmla="*/ 2295491 w 2308160"/>
              <a:gd name="connsiteY1" fmla="*/ 12700 h 4206875"/>
              <a:gd name="connsiteX2" fmla="*/ 2308160 w 2308160"/>
              <a:gd name="connsiteY2" fmla="*/ 4181475 h 4206875"/>
              <a:gd name="connsiteX3" fmla="*/ 2127979 w 2308160"/>
              <a:gd name="connsiteY3" fmla="*/ 4180681 h 4206875"/>
              <a:gd name="connsiteX4" fmla="*/ 2127979 w 2308160"/>
              <a:gd name="connsiteY4" fmla="*/ 3316287 h 4206875"/>
              <a:gd name="connsiteX5" fmla="*/ 411098 w 2308160"/>
              <a:gd name="connsiteY5" fmla="*/ 3316286 h 4206875"/>
              <a:gd name="connsiteX6" fmla="*/ 411257 w 2308160"/>
              <a:gd name="connsiteY6" fmla="*/ 4184807 h 4206875"/>
              <a:gd name="connsiteX7" fmla="*/ 0 w 2308160"/>
              <a:gd name="connsiteY7" fmla="*/ 4206875 h 4206875"/>
              <a:gd name="connsiteX8" fmla="*/ 28507 w 2308160"/>
              <a:gd name="connsiteY8" fmla="*/ 0 h 4206875"/>
              <a:gd name="connsiteX0" fmla="*/ 28507 w 2314495"/>
              <a:gd name="connsiteY0" fmla="*/ 1587 h 4208462"/>
              <a:gd name="connsiteX1" fmla="*/ 2314495 w 2314495"/>
              <a:gd name="connsiteY1" fmla="*/ 0 h 4208462"/>
              <a:gd name="connsiteX2" fmla="*/ 2308160 w 2314495"/>
              <a:gd name="connsiteY2" fmla="*/ 4183062 h 4208462"/>
              <a:gd name="connsiteX3" fmla="*/ 2127979 w 2314495"/>
              <a:gd name="connsiteY3" fmla="*/ 4182268 h 4208462"/>
              <a:gd name="connsiteX4" fmla="*/ 2127979 w 2314495"/>
              <a:gd name="connsiteY4" fmla="*/ 3317874 h 4208462"/>
              <a:gd name="connsiteX5" fmla="*/ 411098 w 2314495"/>
              <a:gd name="connsiteY5" fmla="*/ 3317873 h 4208462"/>
              <a:gd name="connsiteX6" fmla="*/ 411257 w 2314495"/>
              <a:gd name="connsiteY6" fmla="*/ 4186394 h 4208462"/>
              <a:gd name="connsiteX7" fmla="*/ 0 w 2314495"/>
              <a:gd name="connsiteY7" fmla="*/ 4208462 h 4208462"/>
              <a:gd name="connsiteX8" fmla="*/ 28507 w 2314495"/>
              <a:gd name="connsiteY8" fmla="*/ 1587 h 4208462"/>
              <a:gd name="connsiteX0" fmla="*/ 28507 w 2308543"/>
              <a:gd name="connsiteY0" fmla="*/ 0 h 4206875"/>
              <a:gd name="connsiteX1" fmla="*/ 2304993 w 2308543"/>
              <a:gd name="connsiteY1" fmla="*/ 3176 h 4206875"/>
              <a:gd name="connsiteX2" fmla="*/ 2308160 w 2308543"/>
              <a:gd name="connsiteY2" fmla="*/ 4181475 h 4206875"/>
              <a:gd name="connsiteX3" fmla="*/ 2127979 w 2308543"/>
              <a:gd name="connsiteY3" fmla="*/ 4180681 h 4206875"/>
              <a:gd name="connsiteX4" fmla="*/ 2127979 w 2308543"/>
              <a:gd name="connsiteY4" fmla="*/ 3316287 h 4206875"/>
              <a:gd name="connsiteX5" fmla="*/ 411098 w 2308543"/>
              <a:gd name="connsiteY5" fmla="*/ 3316286 h 4206875"/>
              <a:gd name="connsiteX6" fmla="*/ 411257 w 2308543"/>
              <a:gd name="connsiteY6" fmla="*/ 4184807 h 4206875"/>
              <a:gd name="connsiteX7" fmla="*/ 0 w 2308543"/>
              <a:gd name="connsiteY7" fmla="*/ 4206875 h 4206875"/>
              <a:gd name="connsiteX8" fmla="*/ 28507 w 2308543"/>
              <a:gd name="connsiteY8" fmla="*/ 0 h 4206875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73538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099472 w 2280036"/>
              <a:gd name="connsiteY4" fmla="*/ 3316287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106598 w 2280036"/>
              <a:gd name="connsiteY4" fmla="*/ 3311525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1847 w 2280036"/>
              <a:gd name="connsiteY4" fmla="*/ 3316288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82591 w 2280036"/>
              <a:gd name="connsiteY5" fmla="*/ 3316286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2093 w 2280036"/>
              <a:gd name="connsiteY5" fmla="*/ 33186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54546 w 2280036"/>
              <a:gd name="connsiteY4" fmla="*/ 4104480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2639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6032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47211 w 2280036"/>
              <a:gd name="connsiteY3" fmla="*/ 416163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97327 w 2280036"/>
              <a:gd name="connsiteY3" fmla="*/ 4118768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64071 w 2280036"/>
              <a:gd name="connsiteY3" fmla="*/ 4130674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75950 w 2280036"/>
              <a:gd name="connsiteY3" fmla="*/ 4104480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055 w 2280036"/>
              <a:gd name="connsiteY3" fmla="*/ 3813175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3430 w 2280036"/>
              <a:gd name="connsiteY3" fmla="*/ 3810793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91618"/>
              <a:gd name="connsiteX1" fmla="*/ 2276486 w 2280036"/>
              <a:gd name="connsiteY1" fmla="*/ 3176 h 4191618"/>
              <a:gd name="connsiteX2" fmla="*/ 2279653 w 2280036"/>
              <a:gd name="connsiteY2" fmla="*/ 4181475 h 4191618"/>
              <a:gd name="connsiteX3" fmla="*/ 2099910 w 2280036"/>
              <a:gd name="connsiteY3" fmla="*/ 4180680 h 4191618"/>
              <a:gd name="connsiteX4" fmla="*/ 2103430 w 2280036"/>
              <a:gd name="connsiteY4" fmla="*/ 3810793 h 4191618"/>
              <a:gd name="connsiteX5" fmla="*/ 392093 w 2280036"/>
              <a:gd name="connsiteY5" fmla="*/ 3813967 h 4191618"/>
              <a:gd name="connsiteX6" fmla="*/ 389876 w 2280036"/>
              <a:gd name="connsiteY6" fmla="*/ 4180045 h 4191618"/>
              <a:gd name="connsiteX7" fmla="*/ 4750 w 2280036"/>
              <a:gd name="connsiteY7" fmla="*/ 4183063 h 4191618"/>
              <a:gd name="connsiteX8" fmla="*/ 0 w 2280036"/>
              <a:gd name="connsiteY8" fmla="*/ 0 h 4191618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5805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5805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1827876 w 2279653"/>
              <a:gd name="connsiteY4" fmla="*/ 3915568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1055 w 2279653"/>
              <a:gd name="connsiteY4" fmla="*/ 3813174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8863 w 2279653"/>
              <a:gd name="connsiteY1" fmla="*/ 794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1055 w 2279653"/>
              <a:gd name="connsiteY4" fmla="*/ 3813174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7276"/>
              <a:gd name="connsiteY0" fmla="*/ 0 h 4185445"/>
              <a:gd name="connsiteX1" fmla="*/ 2276486 w 2277276"/>
              <a:gd name="connsiteY1" fmla="*/ 3176 h 4185445"/>
              <a:gd name="connsiteX2" fmla="*/ 2277276 w 2277276"/>
              <a:gd name="connsiteY2" fmla="*/ 4183857 h 4185445"/>
              <a:gd name="connsiteX3" fmla="*/ 2097533 w 2277276"/>
              <a:gd name="connsiteY3" fmla="*/ 4183062 h 4185445"/>
              <a:gd name="connsiteX4" fmla="*/ 2098678 w 2277276"/>
              <a:gd name="connsiteY4" fmla="*/ 3815556 h 4185445"/>
              <a:gd name="connsiteX5" fmla="*/ 389716 w 2277276"/>
              <a:gd name="connsiteY5" fmla="*/ 3816349 h 4185445"/>
              <a:gd name="connsiteX6" fmla="*/ 387499 w 2277276"/>
              <a:gd name="connsiteY6" fmla="*/ 4182427 h 4185445"/>
              <a:gd name="connsiteX7" fmla="*/ 2373 w 2277276"/>
              <a:gd name="connsiteY7" fmla="*/ 4185445 h 4185445"/>
              <a:gd name="connsiteX8" fmla="*/ 0 w 2277276"/>
              <a:gd name="connsiteY8" fmla="*/ 0 h 4185445"/>
              <a:gd name="connsiteX0" fmla="*/ 461 w 2275360"/>
              <a:gd name="connsiteY0" fmla="*/ 0 h 4183063"/>
              <a:gd name="connsiteX1" fmla="*/ 2274570 w 2275360"/>
              <a:gd name="connsiteY1" fmla="*/ 794 h 4183063"/>
              <a:gd name="connsiteX2" fmla="*/ 2275360 w 2275360"/>
              <a:gd name="connsiteY2" fmla="*/ 4181475 h 4183063"/>
              <a:gd name="connsiteX3" fmla="*/ 2095617 w 2275360"/>
              <a:gd name="connsiteY3" fmla="*/ 4180680 h 4183063"/>
              <a:gd name="connsiteX4" fmla="*/ 2096762 w 2275360"/>
              <a:gd name="connsiteY4" fmla="*/ 3813174 h 4183063"/>
              <a:gd name="connsiteX5" fmla="*/ 387800 w 2275360"/>
              <a:gd name="connsiteY5" fmla="*/ 3813967 h 4183063"/>
              <a:gd name="connsiteX6" fmla="*/ 385583 w 2275360"/>
              <a:gd name="connsiteY6" fmla="*/ 4180045 h 4183063"/>
              <a:gd name="connsiteX7" fmla="*/ 457 w 2275360"/>
              <a:gd name="connsiteY7" fmla="*/ 4183063 h 4183063"/>
              <a:gd name="connsiteX8" fmla="*/ 461 w 2275360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387343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289915 w 2274903"/>
              <a:gd name="connsiteY5" fmla="*/ 3737738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7536 w 2274903"/>
              <a:gd name="connsiteY3" fmla="*/ 4183063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7536 w 2274903"/>
              <a:gd name="connsiteY3" fmla="*/ 4183063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92592"/>
              <a:gd name="connsiteX1" fmla="*/ 2274113 w 2274903"/>
              <a:gd name="connsiteY1" fmla="*/ 794 h 4192592"/>
              <a:gd name="connsiteX2" fmla="*/ 2274903 w 2274903"/>
              <a:gd name="connsiteY2" fmla="*/ 4181475 h 4192592"/>
              <a:gd name="connsiteX3" fmla="*/ 2097536 w 2274903"/>
              <a:gd name="connsiteY3" fmla="*/ 4183063 h 4192592"/>
              <a:gd name="connsiteX4" fmla="*/ 2096305 w 2274903"/>
              <a:gd name="connsiteY4" fmla="*/ 3813174 h 4192592"/>
              <a:gd name="connsiteX5" fmla="*/ 384966 w 2274903"/>
              <a:gd name="connsiteY5" fmla="*/ 3813967 h 4192592"/>
              <a:gd name="connsiteX6" fmla="*/ 385126 w 2274903"/>
              <a:gd name="connsiteY6" fmla="*/ 4180045 h 4192592"/>
              <a:gd name="connsiteX7" fmla="*/ 0 w 2274903"/>
              <a:gd name="connsiteY7" fmla="*/ 4192592 h 4192592"/>
              <a:gd name="connsiteX8" fmla="*/ 4 w 2274903"/>
              <a:gd name="connsiteY8" fmla="*/ 0 h 419259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096305 w 2274903"/>
              <a:gd name="connsiteY4" fmla="*/ 3813174 h 4196052"/>
              <a:gd name="connsiteX5" fmla="*/ 384966 w 2274903"/>
              <a:gd name="connsiteY5" fmla="*/ 3813967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096305 w 2274903"/>
              <a:gd name="connsiteY4" fmla="*/ 3813174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121652 w 2274903"/>
              <a:gd name="connsiteY4" fmla="*/ 3762355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116547 w 2274903"/>
              <a:gd name="connsiteY3" fmla="*/ 4189415 h 4196052"/>
              <a:gd name="connsiteX4" fmla="*/ 2121652 w 2274903"/>
              <a:gd name="connsiteY4" fmla="*/ 3762355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275"/>
              <a:gd name="connsiteY0" fmla="*/ 0 h 4196052"/>
              <a:gd name="connsiteX1" fmla="*/ 2274113 w 2274275"/>
              <a:gd name="connsiteY1" fmla="*/ 794 h 4196052"/>
              <a:gd name="connsiteX2" fmla="*/ 2271735 w 2274275"/>
              <a:gd name="connsiteY2" fmla="*/ 4191004 h 4196052"/>
              <a:gd name="connsiteX3" fmla="*/ 2116547 w 2274275"/>
              <a:gd name="connsiteY3" fmla="*/ 4189415 h 4196052"/>
              <a:gd name="connsiteX4" fmla="*/ 2121652 w 2274275"/>
              <a:gd name="connsiteY4" fmla="*/ 3762355 h 4196052"/>
              <a:gd name="connsiteX5" fmla="*/ 166348 w 2274275"/>
              <a:gd name="connsiteY5" fmla="*/ 3763148 h 4196052"/>
              <a:gd name="connsiteX6" fmla="*/ 163339 w 2274275"/>
              <a:gd name="connsiteY6" fmla="*/ 4195926 h 4196052"/>
              <a:gd name="connsiteX7" fmla="*/ 0 w 2274275"/>
              <a:gd name="connsiteY7" fmla="*/ 4192592 h 4196052"/>
              <a:gd name="connsiteX8" fmla="*/ 4 w 2274275"/>
              <a:gd name="connsiteY8" fmla="*/ 0 h 4196052"/>
              <a:gd name="connsiteX0" fmla="*/ 4 w 2274275"/>
              <a:gd name="connsiteY0" fmla="*/ 0 h 4196052"/>
              <a:gd name="connsiteX1" fmla="*/ 2274113 w 2274275"/>
              <a:gd name="connsiteY1" fmla="*/ 794 h 4196052"/>
              <a:gd name="connsiteX2" fmla="*/ 2271735 w 2274275"/>
              <a:gd name="connsiteY2" fmla="*/ 4191004 h 4196052"/>
              <a:gd name="connsiteX3" fmla="*/ 2116547 w 2274275"/>
              <a:gd name="connsiteY3" fmla="*/ 4189415 h 4196052"/>
              <a:gd name="connsiteX4" fmla="*/ 2121652 w 2274275"/>
              <a:gd name="connsiteY4" fmla="*/ 3762355 h 4196052"/>
              <a:gd name="connsiteX5" fmla="*/ 1224766 w 2274275"/>
              <a:gd name="connsiteY5" fmla="*/ 3763149 h 4196052"/>
              <a:gd name="connsiteX6" fmla="*/ 163339 w 2274275"/>
              <a:gd name="connsiteY6" fmla="*/ 4195926 h 4196052"/>
              <a:gd name="connsiteX7" fmla="*/ 0 w 2274275"/>
              <a:gd name="connsiteY7" fmla="*/ 4192592 h 4196052"/>
              <a:gd name="connsiteX8" fmla="*/ 4 w 2274275"/>
              <a:gd name="connsiteY8" fmla="*/ 0 h 4196052"/>
              <a:gd name="connsiteX0" fmla="*/ 4 w 2274275"/>
              <a:gd name="connsiteY0" fmla="*/ 0 h 4192750"/>
              <a:gd name="connsiteX1" fmla="*/ 2274113 w 2274275"/>
              <a:gd name="connsiteY1" fmla="*/ 794 h 4192750"/>
              <a:gd name="connsiteX2" fmla="*/ 2271735 w 2274275"/>
              <a:gd name="connsiteY2" fmla="*/ 4191004 h 4192750"/>
              <a:gd name="connsiteX3" fmla="*/ 2116547 w 2274275"/>
              <a:gd name="connsiteY3" fmla="*/ 4189415 h 4192750"/>
              <a:gd name="connsiteX4" fmla="*/ 2121652 w 2274275"/>
              <a:gd name="connsiteY4" fmla="*/ 3762355 h 4192750"/>
              <a:gd name="connsiteX5" fmla="*/ 1224766 w 2274275"/>
              <a:gd name="connsiteY5" fmla="*/ 3763149 h 4192750"/>
              <a:gd name="connsiteX6" fmla="*/ 1222390 w 2274275"/>
              <a:gd name="connsiteY6" fmla="*/ 4192750 h 4192750"/>
              <a:gd name="connsiteX7" fmla="*/ 0 w 2274275"/>
              <a:gd name="connsiteY7" fmla="*/ 4192592 h 4192750"/>
              <a:gd name="connsiteX8" fmla="*/ 4 w 2274275"/>
              <a:gd name="connsiteY8" fmla="*/ 0 h 4192750"/>
              <a:gd name="connsiteX0" fmla="*/ 4 w 2274275"/>
              <a:gd name="connsiteY0" fmla="*/ 0 h 4202120"/>
              <a:gd name="connsiteX1" fmla="*/ 2274113 w 2274275"/>
              <a:gd name="connsiteY1" fmla="*/ 794 h 4202120"/>
              <a:gd name="connsiteX2" fmla="*/ 2271735 w 2274275"/>
              <a:gd name="connsiteY2" fmla="*/ 4191004 h 4202120"/>
              <a:gd name="connsiteX3" fmla="*/ 2195581 w 2274275"/>
              <a:gd name="connsiteY3" fmla="*/ 4202120 h 4202120"/>
              <a:gd name="connsiteX4" fmla="*/ 2121652 w 2274275"/>
              <a:gd name="connsiteY4" fmla="*/ 3762355 h 4202120"/>
              <a:gd name="connsiteX5" fmla="*/ 1224766 w 2274275"/>
              <a:gd name="connsiteY5" fmla="*/ 3763149 h 4202120"/>
              <a:gd name="connsiteX6" fmla="*/ 1222390 w 2274275"/>
              <a:gd name="connsiteY6" fmla="*/ 4192750 h 4202120"/>
              <a:gd name="connsiteX7" fmla="*/ 0 w 2274275"/>
              <a:gd name="connsiteY7" fmla="*/ 4192592 h 4202120"/>
              <a:gd name="connsiteX8" fmla="*/ 4 w 2274275"/>
              <a:gd name="connsiteY8" fmla="*/ 0 h 4202120"/>
              <a:gd name="connsiteX0" fmla="*/ 4 w 2274275"/>
              <a:gd name="connsiteY0" fmla="*/ 0 h 4202120"/>
              <a:gd name="connsiteX1" fmla="*/ 2274113 w 2274275"/>
              <a:gd name="connsiteY1" fmla="*/ 794 h 4202120"/>
              <a:gd name="connsiteX2" fmla="*/ 2271735 w 2274275"/>
              <a:gd name="connsiteY2" fmla="*/ 4191004 h 4202120"/>
              <a:gd name="connsiteX3" fmla="*/ 2195581 w 2274275"/>
              <a:gd name="connsiteY3" fmla="*/ 4202120 h 4202120"/>
              <a:gd name="connsiteX4" fmla="*/ 2194363 w 2274275"/>
              <a:gd name="connsiteY4" fmla="*/ 3765531 h 4202120"/>
              <a:gd name="connsiteX5" fmla="*/ 1224766 w 2274275"/>
              <a:gd name="connsiteY5" fmla="*/ 3763149 h 4202120"/>
              <a:gd name="connsiteX6" fmla="*/ 1222390 w 2274275"/>
              <a:gd name="connsiteY6" fmla="*/ 4192750 h 4202120"/>
              <a:gd name="connsiteX7" fmla="*/ 0 w 2274275"/>
              <a:gd name="connsiteY7" fmla="*/ 4192592 h 4202120"/>
              <a:gd name="connsiteX8" fmla="*/ 4 w 2274275"/>
              <a:gd name="connsiteY8" fmla="*/ 0 h 4202120"/>
              <a:gd name="connsiteX0" fmla="*/ 4 w 2274275"/>
              <a:gd name="connsiteY0" fmla="*/ 0 h 4198944"/>
              <a:gd name="connsiteX1" fmla="*/ 2274113 w 2274275"/>
              <a:gd name="connsiteY1" fmla="*/ 794 h 4198944"/>
              <a:gd name="connsiteX2" fmla="*/ 2271735 w 2274275"/>
              <a:gd name="connsiteY2" fmla="*/ 4191004 h 4198944"/>
              <a:gd name="connsiteX3" fmla="*/ 2194001 w 2274275"/>
              <a:gd name="connsiteY3" fmla="*/ 4198944 h 4198944"/>
              <a:gd name="connsiteX4" fmla="*/ 2194363 w 2274275"/>
              <a:gd name="connsiteY4" fmla="*/ 3765531 h 4198944"/>
              <a:gd name="connsiteX5" fmla="*/ 1224766 w 2274275"/>
              <a:gd name="connsiteY5" fmla="*/ 3763149 h 4198944"/>
              <a:gd name="connsiteX6" fmla="*/ 1222390 w 2274275"/>
              <a:gd name="connsiteY6" fmla="*/ 4192750 h 4198944"/>
              <a:gd name="connsiteX7" fmla="*/ 0 w 2274275"/>
              <a:gd name="connsiteY7" fmla="*/ 4192592 h 4198944"/>
              <a:gd name="connsiteX8" fmla="*/ 4 w 2274275"/>
              <a:gd name="connsiteY8" fmla="*/ 0 h 4198944"/>
              <a:gd name="connsiteX0" fmla="*/ 4 w 2274275"/>
              <a:gd name="connsiteY0" fmla="*/ 0 h 4198944"/>
              <a:gd name="connsiteX1" fmla="*/ 2274113 w 2274275"/>
              <a:gd name="connsiteY1" fmla="*/ 794 h 4198944"/>
              <a:gd name="connsiteX2" fmla="*/ 2271735 w 2274275"/>
              <a:gd name="connsiteY2" fmla="*/ 4191004 h 4198944"/>
              <a:gd name="connsiteX3" fmla="*/ 2194001 w 2274275"/>
              <a:gd name="connsiteY3" fmla="*/ 4198944 h 4198944"/>
              <a:gd name="connsiteX4" fmla="*/ 2194363 w 2274275"/>
              <a:gd name="connsiteY4" fmla="*/ 3765531 h 4198944"/>
              <a:gd name="connsiteX5" fmla="*/ 1224766 w 2274275"/>
              <a:gd name="connsiteY5" fmla="*/ 3763149 h 4198944"/>
              <a:gd name="connsiteX6" fmla="*/ 1243729 w 2274275"/>
              <a:gd name="connsiteY6" fmla="*/ 4192750 h 4198944"/>
              <a:gd name="connsiteX7" fmla="*/ 0 w 2274275"/>
              <a:gd name="connsiteY7" fmla="*/ 4192592 h 4198944"/>
              <a:gd name="connsiteX8" fmla="*/ 4 w 2274275"/>
              <a:gd name="connsiteY8" fmla="*/ 0 h 4198944"/>
              <a:gd name="connsiteX0" fmla="*/ 4 w 2274275"/>
              <a:gd name="connsiteY0" fmla="*/ 0 h 4198944"/>
              <a:gd name="connsiteX1" fmla="*/ 2274113 w 2274275"/>
              <a:gd name="connsiteY1" fmla="*/ 794 h 4198944"/>
              <a:gd name="connsiteX2" fmla="*/ 2271735 w 2274275"/>
              <a:gd name="connsiteY2" fmla="*/ 4191004 h 4198944"/>
              <a:gd name="connsiteX3" fmla="*/ 2194001 w 2274275"/>
              <a:gd name="connsiteY3" fmla="*/ 4198944 h 4198944"/>
              <a:gd name="connsiteX4" fmla="*/ 2194363 w 2274275"/>
              <a:gd name="connsiteY4" fmla="*/ 3765531 h 4198944"/>
              <a:gd name="connsiteX5" fmla="*/ 1243734 w 2274275"/>
              <a:gd name="connsiteY5" fmla="*/ 3491583 h 4198944"/>
              <a:gd name="connsiteX6" fmla="*/ 1243729 w 2274275"/>
              <a:gd name="connsiteY6" fmla="*/ 4192750 h 4198944"/>
              <a:gd name="connsiteX7" fmla="*/ 0 w 2274275"/>
              <a:gd name="connsiteY7" fmla="*/ 4192592 h 4198944"/>
              <a:gd name="connsiteX8" fmla="*/ 4 w 2274275"/>
              <a:gd name="connsiteY8" fmla="*/ 0 h 4198944"/>
              <a:gd name="connsiteX0" fmla="*/ 4 w 2274275"/>
              <a:gd name="connsiteY0" fmla="*/ 0 h 4198944"/>
              <a:gd name="connsiteX1" fmla="*/ 2274113 w 2274275"/>
              <a:gd name="connsiteY1" fmla="*/ 794 h 4198944"/>
              <a:gd name="connsiteX2" fmla="*/ 2271735 w 2274275"/>
              <a:gd name="connsiteY2" fmla="*/ 4191004 h 4198944"/>
              <a:gd name="connsiteX3" fmla="*/ 2194001 w 2274275"/>
              <a:gd name="connsiteY3" fmla="*/ 4198944 h 4198944"/>
              <a:gd name="connsiteX4" fmla="*/ 2193178 w 2274275"/>
              <a:gd name="connsiteY4" fmla="*/ 3491584 h 4198944"/>
              <a:gd name="connsiteX5" fmla="*/ 1243734 w 2274275"/>
              <a:gd name="connsiteY5" fmla="*/ 3491583 h 4198944"/>
              <a:gd name="connsiteX6" fmla="*/ 1243729 w 2274275"/>
              <a:gd name="connsiteY6" fmla="*/ 4192750 h 4198944"/>
              <a:gd name="connsiteX7" fmla="*/ 0 w 2274275"/>
              <a:gd name="connsiteY7" fmla="*/ 4192592 h 4198944"/>
              <a:gd name="connsiteX8" fmla="*/ 4 w 2274275"/>
              <a:gd name="connsiteY8" fmla="*/ 0 h 4198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4275" h="4198944">
                <a:moveTo>
                  <a:pt x="4" y="0"/>
                </a:moveTo>
                <a:lnTo>
                  <a:pt x="2274113" y="794"/>
                </a:lnTo>
                <a:cubicBezTo>
                  <a:pt x="2275169" y="1393560"/>
                  <a:pt x="2270679" y="2798238"/>
                  <a:pt x="2271735" y="4191004"/>
                </a:cubicBezTo>
                <a:lnTo>
                  <a:pt x="2194001" y="4198944"/>
                </a:lnTo>
                <a:cubicBezTo>
                  <a:pt x="2194383" y="4076442"/>
                  <a:pt x="2192796" y="3614086"/>
                  <a:pt x="2193178" y="3491584"/>
                </a:cubicBezTo>
                <a:lnTo>
                  <a:pt x="1243734" y="3491583"/>
                </a:lnTo>
                <a:cubicBezTo>
                  <a:pt x="1243787" y="3613609"/>
                  <a:pt x="1243676" y="4070724"/>
                  <a:pt x="1243729" y="4192750"/>
                </a:cubicBezTo>
                <a:lnTo>
                  <a:pt x="0" y="4192592"/>
                </a:lnTo>
                <a:cubicBezTo>
                  <a:pt x="1" y="2798238"/>
                  <a:pt x="3" y="1394354"/>
                  <a:pt x="4" y="0"/>
                </a:cubicBezTo>
                <a:close/>
              </a:path>
            </a:pathLst>
          </a:custGeom>
          <a:noFill/>
          <a:ln>
            <a:noFill/>
          </a:ln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de-AT" dirty="0"/>
          </a:p>
        </p:txBody>
      </p:sp>
      <p:pic>
        <p:nvPicPr>
          <p:cNvPr id="12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2245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367" userDrawn="1">
          <p15:clr>
            <a:srgbClr val="FBAE40"/>
          </p15:clr>
        </p15:guide>
        <p15:guide id="2" orient="horz" pos="591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9208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1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platzhalter 20"/>
          <p:cNvSpPr>
            <a:spLocks noGrp="1"/>
          </p:cNvSpPr>
          <p:nvPr>
            <p:ph type="body" sz="quarter" idx="17"/>
          </p:nvPr>
        </p:nvSpPr>
        <p:spPr>
          <a:xfrm>
            <a:off x="2813303" y="2462214"/>
            <a:ext cx="4387597" cy="2881311"/>
          </a:xfrm>
          <a:prstGeom prst="rect">
            <a:avLst/>
          </a:prstGeom>
        </p:spPr>
        <p:txBody>
          <a:bodyPr/>
          <a:lstStyle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541655" y="2465388"/>
            <a:ext cx="2089150" cy="2878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lnSpc>
                <a:spcPts val="1134"/>
              </a:lnSpc>
              <a:spcBef>
                <a:spcPts val="0"/>
              </a:spcBef>
              <a:spcAft>
                <a:spcPts val="0"/>
              </a:spcAft>
              <a:defRPr sz="850" cap="all" baseline="0"/>
            </a:lvl2pPr>
            <a:lvl3pPr marL="0" indent="0">
              <a:lnSpc>
                <a:spcPts val="1134"/>
              </a:lnSpc>
              <a:spcBef>
                <a:spcPts val="0"/>
              </a:spcBef>
              <a:buFontTx/>
              <a:buNone/>
              <a:defRPr lang="de-DE" sz="8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" indent="-171450">
              <a:lnSpc>
                <a:spcPts val="1134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Char char="●"/>
              <a:defRPr sz="850"/>
            </a:lvl4pPr>
            <a:lvl5pPr marL="282575" indent="-130175">
              <a:lnSpc>
                <a:spcPts val="1134"/>
              </a:lnSpc>
              <a:spcBef>
                <a:spcPts val="0"/>
              </a:spcBef>
              <a:defRPr sz="85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4" name="Titel 3"/>
          <p:cNvSpPr>
            <a:spLocks noGrp="1"/>
          </p:cNvSpPr>
          <p:nvPr userDrawn="1">
            <p:ph type="title" hasCustomPrompt="1"/>
          </p:nvPr>
        </p:nvSpPr>
        <p:spPr>
          <a:xfrm>
            <a:off x="1674812" y="1182688"/>
            <a:ext cx="5521325" cy="900112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e-DE" dirty="0"/>
              <a:t>Titel einfügen (maximal 3-zeilig!)</a:t>
            </a:r>
            <a:endParaRPr lang="de-AT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lnSpc>
                <a:spcPts val="1000"/>
              </a:lnSpc>
              <a:defRPr sz="75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20" name="Textplatzhalter 6"/>
          <p:cNvSpPr>
            <a:spLocks noGrp="1"/>
          </p:cNvSpPr>
          <p:nvPr userDrawn="1"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lnSpc>
                <a:spcPts val="1000"/>
              </a:lnSpc>
              <a:defRPr sz="75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Bildplatzhalter 7"/>
          <p:cNvSpPr>
            <a:spLocks noGrp="1"/>
          </p:cNvSpPr>
          <p:nvPr>
            <p:ph type="pic" sz="quarter" idx="24"/>
          </p:nvPr>
        </p:nvSpPr>
        <p:spPr>
          <a:xfrm>
            <a:off x="539750" y="5580065"/>
            <a:ext cx="6839909" cy="4196713"/>
          </a:xfrm>
          <a:custGeom>
            <a:avLst/>
            <a:gdLst>
              <a:gd name="connsiteX0" fmla="*/ 0 w 6843713"/>
              <a:gd name="connsiteY0" fmla="*/ 0 h 7483475"/>
              <a:gd name="connsiteX1" fmla="*/ 6843713 w 6843713"/>
              <a:gd name="connsiteY1" fmla="*/ 0 h 7483475"/>
              <a:gd name="connsiteX2" fmla="*/ 6843713 w 6843713"/>
              <a:gd name="connsiteY2" fmla="*/ 7483475 h 7483475"/>
              <a:gd name="connsiteX3" fmla="*/ 0 w 6843713"/>
              <a:gd name="connsiteY3" fmla="*/ 7483475 h 7483475"/>
              <a:gd name="connsiteX4" fmla="*/ 0 w 6843713"/>
              <a:gd name="connsiteY4" fmla="*/ 0 h 7483475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0 w 6843713"/>
              <a:gd name="connsiteY4" fmla="*/ 7483475 h 7485254"/>
              <a:gd name="connsiteX5" fmla="*/ 0 w 6843713"/>
              <a:gd name="connsiteY5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0 w 6843713"/>
              <a:gd name="connsiteY5" fmla="*/ 7483475 h 7485254"/>
              <a:gd name="connsiteX6" fmla="*/ 0 w 6843713"/>
              <a:gd name="connsiteY6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4946651 w 6843713"/>
              <a:gd name="connsiteY5" fmla="*/ 6618286 h 7485254"/>
              <a:gd name="connsiteX6" fmla="*/ 0 w 6843713"/>
              <a:gd name="connsiteY6" fmla="*/ 7483475 h 7485254"/>
              <a:gd name="connsiteX7" fmla="*/ 0 w 6843713"/>
              <a:gd name="connsiteY7" fmla="*/ 0 h 748525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9189"/>
              <a:gd name="connsiteX1" fmla="*/ 6843713 w 6843713"/>
              <a:gd name="connsiteY1" fmla="*/ 0 h 7489189"/>
              <a:gd name="connsiteX2" fmla="*/ 6843713 w 6843713"/>
              <a:gd name="connsiteY2" fmla="*/ 7483475 h 7489189"/>
              <a:gd name="connsiteX3" fmla="*/ 6663532 w 6843713"/>
              <a:gd name="connsiteY3" fmla="*/ 7485062 h 7489189"/>
              <a:gd name="connsiteX4" fmla="*/ 6658770 w 6843713"/>
              <a:gd name="connsiteY4" fmla="*/ 6613524 h 7489189"/>
              <a:gd name="connsiteX5" fmla="*/ 4946651 w 6843713"/>
              <a:gd name="connsiteY5" fmla="*/ 6618286 h 7489189"/>
              <a:gd name="connsiteX6" fmla="*/ 4956335 w 6843713"/>
              <a:gd name="connsiteY6" fmla="*/ 7489189 h 7489189"/>
              <a:gd name="connsiteX7" fmla="*/ 0 w 6843713"/>
              <a:gd name="connsiteY7" fmla="*/ 7483475 h 7489189"/>
              <a:gd name="connsiteX8" fmla="*/ 0 w 6843713"/>
              <a:gd name="connsiteY8" fmla="*/ 0 h 7489189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3243301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3243301 w 6843713"/>
              <a:gd name="connsiteY8" fmla="*/ 0 h 7486807"/>
              <a:gd name="connsiteX0" fmla="*/ 0 w 3600412"/>
              <a:gd name="connsiteY0" fmla="*/ 0 h 7496175"/>
              <a:gd name="connsiteX1" fmla="*/ 3600412 w 3600412"/>
              <a:gd name="connsiteY1" fmla="*/ 0 h 7496175"/>
              <a:gd name="connsiteX2" fmla="*/ 3600412 w 3600412"/>
              <a:gd name="connsiteY2" fmla="*/ 7483475 h 7496175"/>
              <a:gd name="connsiteX3" fmla="*/ 3420231 w 3600412"/>
              <a:gd name="connsiteY3" fmla="*/ 7482681 h 7496175"/>
              <a:gd name="connsiteX4" fmla="*/ 3420231 w 3600412"/>
              <a:gd name="connsiteY4" fmla="*/ 6618287 h 7496175"/>
              <a:gd name="connsiteX5" fmla="*/ 1703350 w 3600412"/>
              <a:gd name="connsiteY5" fmla="*/ 6618286 h 7496175"/>
              <a:gd name="connsiteX6" fmla="*/ 1703509 w 3600412"/>
              <a:gd name="connsiteY6" fmla="*/ 7486807 h 7496175"/>
              <a:gd name="connsiteX7" fmla="*/ 25338 w 3600412"/>
              <a:gd name="connsiteY7" fmla="*/ 7496175 h 7496175"/>
              <a:gd name="connsiteX8" fmla="*/ 0 w 3600412"/>
              <a:gd name="connsiteY8" fmla="*/ 0 h 7496175"/>
              <a:gd name="connsiteX0" fmla="*/ 1266915 w 3575074"/>
              <a:gd name="connsiteY0" fmla="*/ 3340100 h 7496175"/>
              <a:gd name="connsiteX1" fmla="*/ 3575074 w 3575074"/>
              <a:gd name="connsiteY1" fmla="*/ 0 h 7496175"/>
              <a:gd name="connsiteX2" fmla="*/ 3575074 w 3575074"/>
              <a:gd name="connsiteY2" fmla="*/ 7483475 h 7496175"/>
              <a:gd name="connsiteX3" fmla="*/ 3394893 w 3575074"/>
              <a:gd name="connsiteY3" fmla="*/ 7482681 h 7496175"/>
              <a:gd name="connsiteX4" fmla="*/ 3394893 w 3575074"/>
              <a:gd name="connsiteY4" fmla="*/ 6618287 h 7496175"/>
              <a:gd name="connsiteX5" fmla="*/ 1678012 w 3575074"/>
              <a:gd name="connsiteY5" fmla="*/ 6618286 h 7496175"/>
              <a:gd name="connsiteX6" fmla="*/ 1678171 w 3575074"/>
              <a:gd name="connsiteY6" fmla="*/ 7486807 h 7496175"/>
              <a:gd name="connsiteX7" fmla="*/ 0 w 3575074"/>
              <a:gd name="connsiteY7" fmla="*/ 7496175 h 7496175"/>
              <a:gd name="connsiteX8" fmla="*/ 1266915 w 3575074"/>
              <a:gd name="connsiteY8" fmla="*/ 3340100 h 7496175"/>
              <a:gd name="connsiteX0" fmla="*/ 1266915 w 3575074"/>
              <a:gd name="connsiteY0" fmla="*/ 25400 h 4181475"/>
              <a:gd name="connsiteX1" fmla="*/ 3562405 w 3575074"/>
              <a:gd name="connsiteY1" fmla="*/ 0 h 4181475"/>
              <a:gd name="connsiteX2" fmla="*/ 3575074 w 3575074"/>
              <a:gd name="connsiteY2" fmla="*/ 4168775 h 4181475"/>
              <a:gd name="connsiteX3" fmla="*/ 3394893 w 3575074"/>
              <a:gd name="connsiteY3" fmla="*/ 4167981 h 4181475"/>
              <a:gd name="connsiteX4" fmla="*/ 3394893 w 3575074"/>
              <a:gd name="connsiteY4" fmla="*/ 3303587 h 4181475"/>
              <a:gd name="connsiteX5" fmla="*/ 1678012 w 3575074"/>
              <a:gd name="connsiteY5" fmla="*/ 3303586 h 4181475"/>
              <a:gd name="connsiteX6" fmla="*/ 1678171 w 3575074"/>
              <a:gd name="connsiteY6" fmla="*/ 4172107 h 4181475"/>
              <a:gd name="connsiteX7" fmla="*/ 0 w 3575074"/>
              <a:gd name="connsiteY7" fmla="*/ 4181475 h 4181475"/>
              <a:gd name="connsiteX8" fmla="*/ 1266915 w 3575074"/>
              <a:gd name="connsiteY8" fmla="*/ 25400 h 4181475"/>
              <a:gd name="connsiteX0" fmla="*/ 1 w 2308160"/>
              <a:gd name="connsiteY0" fmla="*/ 25400 h 4194175"/>
              <a:gd name="connsiteX1" fmla="*/ 2295491 w 2308160"/>
              <a:gd name="connsiteY1" fmla="*/ 0 h 4194175"/>
              <a:gd name="connsiteX2" fmla="*/ 2308160 w 2308160"/>
              <a:gd name="connsiteY2" fmla="*/ 4168775 h 4194175"/>
              <a:gd name="connsiteX3" fmla="*/ 2127979 w 2308160"/>
              <a:gd name="connsiteY3" fmla="*/ 4167981 h 4194175"/>
              <a:gd name="connsiteX4" fmla="*/ 2127979 w 2308160"/>
              <a:gd name="connsiteY4" fmla="*/ 3303587 h 4194175"/>
              <a:gd name="connsiteX5" fmla="*/ 411098 w 2308160"/>
              <a:gd name="connsiteY5" fmla="*/ 3303586 h 4194175"/>
              <a:gd name="connsiteX6" fmla="*/ 411257 w 2308160"/>
              <a:gd name="connsiteY6" fmla="*/ 4172107 h 4194175"/>
              <a:gd name="connsiteX7" fmla="*/ 0 w 2308160"/>
              <a:gd name="connsiteY7" fmla="*/ 4194175 h 4194175"/>
              <a:gd name="connsiteX8" fmla="*/ 1 w 2308160"/>
              <a:gd name="connsiteY8" fmla="*/ 25400 h 4194175"/>
              <a:gd name="connsiteX0" fmla="*/ 23755 w 2308160"/>
              <a:gd name="connsiteY0" fmla="*/ 0 h 4211638"/>
              <a:gd name="connsiteX1" fmla="*/ 2295491 w 2308160"/>
              <a:gd name="connsiteY1" fmla="*/ 17463 h 4211638"/>
              <a:gd name="connsiteX2" fmla="*/ 2308160 w 2308160"/>
              <a:gd name="connsiteY2" fmla="*/ 4186238 h 4211638"/>
              <a:gd name="connsiteX3" fmla="*/ 2127979 w 2308160"/>
              <a:gd name="connsiteY3" fmla="*/ 4185444 h 4211638"/>
              <a:gd name="connsiteX4" fmla="*/ 2127979 w 2308160"/>
              <a:gd name="connsiteY4" fmla="*/ 3321050 h 4211638"/>
              <a:gd name="connsiteX5" fmla="*/ 411098 w 2308160"/>
              <a:gd name="connsiteY5" fmla="*/ 3321049 h 4211638"/>
              <a:gd name="connsiteX6" fmla="*/ 411257 w 2308160"/>
              <a:gd name="connsiteY6" fmla="*/ 4189570 h 4211638"/>
              <a:gd name="connsiteX7" fmla="*/ 0 w 2308160"/>
              <a:gd name="connsiteY7" fmla="*/ 4211638 h 4211638"/>
              <a:gd name="connsiteX8" fmla="*/ 23755 w 2308160"/>
              <a:gd name="connsiteY8" fmla="*/ 0 h 4211638"/>
              <a:gd name="connsiteX0" fmla="*/ 28507 w 2308160"/>
              <a:gd name="connsiteY0" fmla="*/ 0 h 4206875"/>
              <a:gd name="connsiteX1" fmla="*/ 2295491 w 2308160"/>
              <a:gd name="connsiteY1" fmla="*/ 12700 h 4206875"/>
              <a:gd name="connsiteX2" fmla="*/ 2308160 w 2308160"/>
              <a:gd name="connsiteY2" fmla="*/ 4181475 h 4206875"/>
              <a:gd name="connsiteX3" fmla="*/ 2127979 w 2308160"/>
              <a:gd name="connsiteY3" fmla="*/ 4180681 h 4206875"/>
              <a:gd name="connsiteX4" fmla="*/ 2127979 w 2308160"/>
              <a:gd name="connsiteY4" fmla="*/ 3316287 h 4206875"/>
              <a:gd name="connsiteX5" fmla="*/ 411098 w 2308160"/>
              <a:gd name="connsiteY5" fmla="*/ 3316286 h 4206875"/>
              <a:gd name="connsiteX6" fmla="*/ 411257 w 2308160"/>
              <a:gd name="connsiteY6" fmla="*/ 4184807 h 4206875"/>
              <a:gd name="connsiteX7" fmla="*/ 0 w 2308160"/>
              <a:gd name="connsiteY7" fmla="*/ 4206875 h 4206875"/>
              <a:gd name="connsiteX8" fmla="*/ 28507 w 2308160"/>
              <a:gd name="connsiteY8" fmla="*/ 0 h 4206875"/>
              <a:gd name="connsiteX0" fmla="*/ 28507 w 2314495"/>
              <a:gd name="connsiteY0" fmla="*/ 1587 h 4208462"/>
              <a:gd name="connsiteX1" fmla="*/ 2314495 w 2314495"/>
              <a:gd name="connsiteY1" fmla="*/ 0 h 4208462"/>
              <a:gd name="connsiteX2" fmla="*/ 2308160 w 2314495"/>
              <a:gd name="connsiteY2" fmla="*/ 4183062 h 4208462"/>
              <a:gd name="connsiteX3" fmla="*/ 2127979 w 2314495"/>
              <a:gd name="connsiteY3" fmla="*/ 4182268 h 4208462"/>
              <a:gd name="connsiteX4" fmla="*/ 2127979 w 2314495"/>
              <a:gd name="connsiteY4" fmla="*/ 3317874 h 4208462"/>
              <a:gd name="connsiteX5" fmla="*/ 411098 w 2314495"/>
              <a:gd name="connsiteY5" fmla="*/ 3317873 h 4208462"/>
              <a:gd name="connsiteX6" fmla="*/ 411257 w 2314495"/>
              <a:gd name="connsiteY6" fmla="*/ 4186394 h 4208462"/>
              <a:gd name="connsiteX7" fmla="*/ 0 w 2314495"/>
              <a:gd name="connsiteY7" fmla="*/ 4208462 h 4208462"/>
              <a:gd name="connsiteX8" fmla="*/ 28507 w 2314495"/>
              <a:gd name="connsiteY8" fmla="*/ 1587 h 4208462"/>
              <a:gd name="connsiteX0" fmla="*/ 28507 w 2308543"/>
              <a:gd name="connsiteY0" fmla="*/ 0 h 4206875"/>
              <a:gd name="connsiteX1" fmla="*/ 2304993 w 2308543"/>
              <a:gd name="connsiteY1" fmla="*/ 3176 h 4206875"/>
              <a:gd name="connsiteX2" fmla="*/ 2308160 w 2308543"/>
              <a:gd name="connsiteY2" fmla="*/ 4181475 h 4206875"/>
              <a:gd name="connsiteX3" fmla="*/ 2127979 w 2308543"/>
              <a:gd name="connsiteY3" fmla="*/ 4180681 h 4206875"/>
              <a:gd name="connsiteX4" fmla="*/ 2127979 w 2308543"/>
              <a:gd name="connsiteY4" fmla="*/ 3316287 h 4206875"/>
              <a:gd name="connsiteX5" fmla="*/ 411098 w 2308543"/>
              <a:gd name="connsiteY5" fmla="*/ 3316286 h 4206875"/>
              <a:gd name="connsiteX6" fmla="*/ 411257 w 2308543"/>
              <a:gd name="connsiteY6" fmla="*/ 4184807 h 4206875"/>
              <a:gd name="connsiteX7" fmla="*/ 0 w 2308543"/>
              <a:gd name="connsiteY7" fmla="*/ 4206875 h 4206875"/>
              <a:gd name="connsiteX8" fmla="*/ 28507 w 2308543"/>
              <a:gd name="connsiteY8" fmla="*/ 0 h 4206875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73538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099472 w 2280036"/>
              <a:gd name="connsiteY4" fmla="*/ 3316287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106598 w 2280036"/>
              <a:gd name="connsiteY4" fmla="*/ 3311525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1847 w 2280036"/>
              <a:gd name="connsiteY4" fmla="*/ 3316288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82591 w 2280036"/>
              <a:gd name="connsiteY5" fmla="*/ 3316286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2093 w 2280036"/>
              <a:gd name="connsiteY5" fmla="*/ 33186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54546 w 2280036"/>
              <a:gd name="connsiteY4" fmla="*/ 4104480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2639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6032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47211 w 2280036"/>
              <a:gd name="connsiteY3" fmla="*/ 416163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97327 w 2280036"/>
              <a:gd name="connsiteY3" fmla="*/ 4118768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64071 w 2280036"/>
              <a:gd name="connsiteY3" fmla="*/ 4130674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75950 w 2280036"/>
              <a:gd name="connsiteY3" fmla="*/ 4104480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055 w 2280036"/>
              <a:gd name="connsiteY3" fmla="*/ 3813175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3430 w 2280036"/>
              <a:gd name="connsiteY3" fmla="*/ 3810793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91618"/>
              <a:gd name="connsiteX1" fmla="*/ 2276486 w 2280036"/>
              <a:gd name="connsiteY1" fmla="*/ 3176 h 4191618"/>
              <a:gd name="connsiteX2" fmla="*/ 2279653 w 2280036"/>
              <a:gd name="connsiteY2" fmla="*/ 4181475 h 4191618"/>
              <a:gd name="connsiteX3" fmla="*/ 2099910 w 2280036"/>
              <a:gd name="connsiteY3" fmla="*/ 4180680 h 4191618"/>
              <a:gd name="connsiteX4" fmla="*/ 2103430 w 2280036"/>
              <a:gd name="connsiteY4" fmla="*/ 3810793 h 4191618"/>
              <a:gd name="connsiteX5" fmla="*/ 392093 w 2280036"/>
              <a:gd name="connsiteY5" fmla="*/ 3813967 h 4191618"/>
              <a:gd name="connsiteX6" fmla="*/ 389876 w 2280036"/>
              <a:gd name="connsiteY6" fmla="*/ 4180045 h 4191618"/>
              <a:gd name="connsiteX7" fmla="*/ 4750 w 2280036"/>
              <a:gd name="connsiteY7" fmla="*/ 4183063 h 4191618"/>
              <a:gd name="connsiteX8" fmla="*/ 0 w 2280036"/>
              <a:gd name="connsiteY8" fmla="*/ 0 h 4191618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5805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5805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1827876 w 2279653"/>
              <a:gd name="connsiteY4" fmla="*/ 3915568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1055 w 2279653"/>
              <a:gd name="connsiteY4" fmla="*/ 3813174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8863 w 2279653"/>
              <a:gd name="connsiteY1" fmla="*/ 794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1055 w 2279653"/>
              <a:gd name="connsiteY4" fmla="*/ 3813174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7276"/>
              <a:gd name="connsiteY0" fmla="*/ 0 h 4185445"/>
              <a:gd name="connsiteX1" fmla="*/ 2276486 w 2277276"/>
              <a:gd name="connsiteY1" fmla="*/ 3176 h 4185445"/>
              <a:gd name="connsiteX2" fmla="*/ 2277276 w 2277276"/>
              <a:gd name="connsiteY2" fmla="*/ 4183857 h 4185445"/>
              <a:gd name="connsiteX3" fmla="*/ 2097533 w 2277276"/>
              <a:gd name="connsiteY3" fmla="*/ 4183062 h 4185445"/>
              <a:gd name="connsiteX4" fmla="*/ 2098678 w 2277276"/>
              <a:gd name="connsiteY4" fmla="*/ 3815556 h 4185445"/>
              <a:gd name="connsiteX5" fmla="*/ 389716 w 2277276"/>
              <a:gd name="connsiteY5" fmla="*/ 3816349 h 4185445"/>
              <a:gd name="connsiteX6" fmla="*/ 387499 w 2277276"/>
              <a:gd name="connsiteY6" fmla="*/ 4182427 h 4185445"/>
              <a:gd name="connsiteX7" fmla="*/ 2373 w 2277276"/>
              <a:gd name="connsiteY7" fmla="*/ 4185445 h 4185445"/>
              <a:gd name="connsiteX8" fmla="*/ 0 w 2277276"/>
              <a:gd name="connsiteY8" fmla="*/ 0 h 4185445"/>
              <a:gd name="connsiteX0" fmla="*/ 461 w 2275360"/>
              <a:gd name="connsiteY0" fmla="*/ 0 h 4183063"/>
              <a:gd name="connsiteX1" fmla="*/ 2274570 w 2275360"/>
              <a:gd name="connsiteY1" fmla="*/ 794 h 4183063"/>
              <a:gd name="connsiteX2" fmla="*/ 2275360 w 2275360"/>
              <a:gd name="connsiteY2" fmla="*/ 4181475 h 4183063"/>
              <a:gd name="connsiteX3" fmla="*/ 2095617 w 2275360"/>
              <a:gd name="connsiteY3" fmla="*/ 4180680 h 4183063"/>
              <a:gd name="connsiteX4" fmla="*/ 2096762 w 2275360"/>
              <a:gd name="connsiteY4" fmla="*/ 3813174 h 4183063"/>
              <a:gd name="connsiteX5" fmla="*/ 387800 w 2275360"/>
              <a:gd name="connsiteY5" fmla="*/ 3813967 h 4183063"/>
              <a:gd name="connsiteX6" fmla="*/ 385583 w 2275360"/>
              <a:gd name="connsiteY6" fmla="*/ 4180045 h 4183063"/>
              <a:gd name="connsiteX7" fmla="*/ 457 w 2275360"/>
              <a:gd name="connsiteY7" fmla="*/ 4183063 h 4183063"/>
              <a:gd name="connsiteX8" fmla="*/ 461 w 2275360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387343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289915 w 2274903"/>
              <a:gd name="connsiteY5" fmla="*/ 3737738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7536 w 2274903"/>
              <a:gd name="connsiteY3" fmla="*/ 4183063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7536 w 2274903"/>
              <a:gd name="connsiteY3" fmla="*/ 4183063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92592"/>
              <a:gd name="connsiteX1" fmla="*/ 2274113 w 2274903"/>
              <a:gd name="connsiteY1" fmla="*/ 794 h 4192592"/>
              <a:gd name="connsiteX2" fmla="*/ 2274903 w 2274903"/>
              <a:gd name="connsiteY2" fmla="*/ 4181475 h 4192592"/>
              <a:gd name="connsiteX3" fmla="*/ 2097536 w 2274903"/>
              <a:gd name="connsiteY3" fmla="*/ 4183063 h 4192592"/>
              <a:gd name="connsiteX4" fmla="*/ 2096305 w 2274903"/>
              <a:gd name="connsiteY4" fmla="*/ 3813174 h 4192592"/>
              <a:gd name="connsiteX5" fmla="*/ 384966 w 2274903"/>
              <a:gd name="connsiteY5" fmla="*/ 3813967 h 4192592"/>
              <a:gd name="connsiteX6" fmla="*/ 385126 w 2274903"/>
              <a:gd name="connsiteY6" fmla="*/ 4180045 h 4192592"/>
              <a:gd name="connsiteX7" fmla="*/ 0 w 2274903"/>
              <a:gd name="connsiteY7" fmla="*/ 4192592 h 4192592"/>
              <a:gd name="connsiteX8" fmla="*/ 4 w 2274903"/>
              <a:gd name="connsiteY8" fmla="*/ 0 h 419259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096305 w 2274903"/>
              <a:gd name="connsiteY4" fmla="*/ 3813174 h 4196052"/>
              <a:gd name="connsiteX5" fmla="*/ 384966 w 2274903"/>
              <a:gd name="connsiteY5" fmla="*/ 3813967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096305 w 2274903"/>
              <a:gd name="connsiteY4" fmla="*/ 3813174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121652 w 2274903"/>
              <a:gd name="connsiteY4" fmla="*/ 3762355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116547 w 2274903"/>
              <a:gd name="connsiteY3" fmla="*/ 4189415 h 4196052"/>
              <a:gd name="connsiteX4" fmla="*/ 2121652 w 2274903"/>
              <a:gd name="connsiteY4" fmla="*/ 3762355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275"/>
              <a:gd name="connsiteY0" fmla="*/ 0 h 4196052"/>
              <a:gd name="connsiteX1" fmla="*/ 2274113 w 2274275"/>
              <a:gd name="connsiteY1" fmla="*/ 794 h 4196052"/>
              <a:gd name="connsiteX2" fmla="*/ 2271735 w 2274275"/>
              <a:gd name="connsiteY2" fmla="*/ 4191004 h 4196052"/>
              <a:gd name="connsiteX3" fmla="*/ 2116547 w 2274275"/>
              <a:gd name="connsiteY3" fmla="*/ 4189415 h 4196052"/>
              <a:gd name="connsiteX4" fmla="*/ 2121652 w 2274275"/>
              <a:gd name="connsiteY4" fmla="*/ 3762355 h 4196052"/>
              <a:gd name="connsiteX5" fmla="*/ 166348 w 2274275"/>
              <a:gd name="connsiteY5" fmla="*/ 3763148 h 4196052"/>
              <a:gd name="connsiteX6" fmla="*/ 163339 w 2274275"/>
              <a:gd name="connsiteY6" fmla="*/ 4195926 h 4196052"/>
              <a:gd name="connsiteX7" fmla="*/ 0 w 2274275"/>
              <a:gd name="connsiteY7" fmla="*/ 4192592 h 4196052"/>
              <a:gd name="connsiteX8" fmla="*/ 4 w 2274275"/>
              <a:gd name="connsiteY8" fmla="*/ 0 h 4196052"/>
              <a:gd name="connsiteX0" fmla="*/ 4 w 2274275"/>
              <a:gd name="connsiteY0" fmla="*/ 0 h 4196052"/>
              <a:gd name="connsiteX1" fmla="*/ 2274113 w 2274275"/>
              <a:gd name="connsiteY1" fmla="*/ 794 h 4196052"/>
              <a:gd name="connsiteX2" fmla="*/ 2271735 w 2274275"/>
              <a:gd name="connsiteY2" fmla="*/ 4191004 h 4196052"/>
              <a:gd name="connsiteX3" fmla="*/ 2116547 w 2274275"/>
              <a:gd name="connsiteY3" fmla="*/ 4189415 h 4196052"/>
              <a:gd name="connsiteX4" fmla="*/ 2121652 w 2274275"/>
              <a:gd name="connsiteY4" fmla="*/ 3762355 h 4196052"/>
              <a:gd name="connsiteX5" fmla="*/ 1224766 w 2274275"/>
              <a:gd name="connsiteY5" fmla="*/ 3763149 h 4196052"/>
              <a:gd name="connsiteX6" fmla="*/ 163339 w 2274275"/>
              <a:gd name="connsiteY6" fmla="*/ 4195926 h 4196052"/>
              <a:gd name="connsiteX7" fmla="*/ 0 w 2274275"/>
              <a:gd name="connsiteY7" fmla="*/ 4192592 h 4196052"/>
              <a:gd name="connsiteX8" fmla="*/ 4 w 2274275"/>
              <a:gd name="connsiteY8" fmla="*/ 0 h 4196052"/>
              <a:gd name="connsiteX0" fmla="*/ 4 w 2274275"/>
              <a:gd name="connsiteY0" fmla="*/ 0 h 4192750"/>
              <a:gd name="connsiteX1" fmla="*/ 2274113 w 2274275"/>
              <a:gd name="connsiteY1" fmla="*/ 794 h 4192750"/>
              <a:gd name="connsiteX2" fmla="*/ 2271735 w 2274275"/>
              <a:gd name="connsiteY2" fmla="*/ 4191004 h 4192750"/>
              <a:gd name="connsiteX3" fmla="*/ 2116547 w 2274275"/>
              <a:gd name="connsiteY3" fmla="*/ 4189415 h 4192750"/>
              <a:gd name="connsiteX4" fmla="*/ 2121652 w 2274275"/>
              <a:gd name="connsiteY4" fmla="*/ 3762355 h 4192750"/>
              <a:gd name="connsiteX5" fmla="*/ 1224766 w 2274275"/>
              <a:gd name="connsiteY5" fmla="*/ 3763149 h 4192750"/>
              <a:gd name="connsiteX6" fmla="*/ 1222390 w 2274275"/>
              <a:gd name="connsiteY6" fmla="*/ 4192750 h 4192750"/>
              <a:gd name="connsiteX7" fmla="*/ 0 w 2274275"/>
              <a:gd name="connsiteY7" fmla="*/ 4192592 h 4192750"/>
              <a:gd name="connsiteX8" fmla="*/ 4 w 2274275"/>
              <a:gd name="connsiteY8" fmla="*/ 0 h 4192750"/>
              <a:gd name="connsiteX0" fmla="*/ 4 w 2274275"/>
              <a:gd name="connsiteY0" fmla="*/ 0 h 4202120"/>
              <a:gd name="connsiteX1" fmla="*/ 2274113 w 2274275"/>
              <a:gd name="connsiteY1" fmla="*/ 794 h 4202120"/>
              <a:gd name="connsiteX2" fmla="*/ 2271735 w 2274275"/>
              <a:gd name="connsiteY2" fmla="*/ 4191004 h 4202120"/>
              <a:gd name="connsiteX3" fmla="*/ 2195581 w 2274275"/>
              <a:gd name="connsiteY3" fmla="*/ 4202120 h 4202120"/>
              <a:gd name="connsiteX4" fmla="*/ 2121652 w 2274275"/>
              <a:gd name="connsiteY4" fmla="*/ 3762355 h 4202120"/>
              <a:gd name="connsiteX5" fmla="*/ 1224766 w 2274275"/>
              <a:gd name="connsiteY5" fmla="*/ 3763149 h 4202120"/>
              <a:gd name="connsiteX6" fmla="*/ 1222390 w 2274275"/>
              <a:gd name="connsiteY6" fmla="*/ 4192750 h 4202120"/>
              <a:gd name="connsiteX7" fmla="*/ 0 w 2274275"/>
              <a:gd name="connsiteY7" fmla="*/ 4192592 h 4202120"/>
              <a:gd name="connsiteX8" fmla="*/ 4 w 2274275"/>
              <a:gd name="connsiteY8" fmla="*/ 0 h 4202120"/>
              <a:gd name="connsiteX0" fmla="*/ 4 w 2274275"/>
              <a:gd name="connsiteY0" fmla="*/ 0 h 4202120"/>
              <a:gd name="connsiteX1" fmla="*/ 2274113 w 2274275"/>
              <a:gd name="connsiteY1" fmla="*/ 794 h 4202120"/>
              <a:gd name="connsiteX2" fmla="*/ 2271735 w 2274275"/>
              <a:gd name="connsiteY2" fmla="*/ 4191004 h 4202120"/>
              <a:gd name="connsiteX3" fmla="*/ 2195581 w 2274275"/>
              <a:gd name="connsiteY3" fmla="*/ 4202120 h 4202120"/>
              <a:gd name="connsiteX4" fmla="*/ 2194363 w 2274275"/>
              <a:gd name="connsiteY4" fmla="*/ 3765531 h 4202120"/>
              <a:gd name="connsiteX5" fmla="*/ 1224766 w 2274275"/>
              <a:gd name="connsiteY5" fmla="*/ 3763149 h 4202120"/>
              <a:gd name="connsiteX6" fmla="*/ 1222390 w 2274275"/>
              <a:gd name="connsiteY6" fmla="*/ 4192750 h 4202120"/>
              <a:gd name="connsiteX7" fmla="*/ 0 w 2274275"/>
              <a:gd name="connsiteY7" fmla="*/ 4192592 h 4202120"/>
              <a:gd name="connsiteX8" fmla="*/ 4 w 2274275"/>
              <a:gd name="connsiteY8" fmla="*/ 0 h 4202120"/>
              <a:gd name="connsiteX0" fmla="*/ 4 w 2274275"/>
              <a:gd name="connsiteY0" fmla="*/ 0 h 4198944"/>
              <a:gd name="connsiteX1" fmla="*/ 2274113 w 2274275"/>
              <a:gd name="connsiteY1" fmla="*/ 794 h 4198944"/>
              <a:gd name="connsiteX2" fmla="*/ 2271735 w 2274275"/>
              <a:gd name="connsiteY2" fmla="*/ 4191004 h 4198944"/>
              <a:gd name="connsiteX3" fmla="*/ 2194001 w 2274275"/>
              <a:gd name="connsiteY3" fmla="*/ 4198944 h 4198944"/>
              <a:gd name="connsiteX4" fmla="*/ 2194363 w 2274275"/>
              <a:gd name="connsiteY4" fmla="*/ 3765531 h 4198944"/>
              <a:gd name="connsiteX5" fmla="*/ 1224766 w 2274275"/>
              <a:gd name="connsiteY5" fmla="*/ 3763149 h 4198944"/>
              <a:gd name="connsiteX6" fmla="*/ 1222390 w 2274275"/>
              <a:gd name="connsiteY6" fmla="*/ 4192750 h 4198944"/>
              <a:gd name="connsiteX7" fmla="*/ 0 w 2274275"/>
              <a:gd name="connsiteY7" fmla="*/ 4192592 h 4198944"/>
              <a:gd name="connsiteX8" fmla="*/ 4 w 2274275"/>
              <a:gd name="connsiteY8" fmla="*/ 0 h 4198944"/>
              <a:gd name="connsiteX0" fmla="*/ 4 w 2274275"/>
              <a:gd name="connsiteY0" fmla="*/ 0 h 4198944"/>
              <a:gd name="connsiteX1" fmla="*/ 2274113 w 2274275"/>
              <a:gd name="connsiteY1" fmla="*/ 794 h 4198944"/>
              <a:gd name="connsiteX2" fmla="*/ 2271735 w 2274275"/>
              <a:gd name="connsiteY2" fmla="*/ 4191004 h 4198944"/>
              <a:gd name="connsiteX3" fmla="*/ 2194001 w 2274275"/>
              <a:gd name="connsiteY3" fmla="*/ 4198944 h 4198944"/>
              <a:gd name="connsiteX4" fmla="*/ 2194363 w 2274275"/>
              <a:gd name="connsiteY4" fmla="*/ 3765531 h 4198944"/>
              <a:gd name="connsiteX5" fmla="*/ 1571032 w 2274275"/>
              <a:gd name="connsiteY5" fmla="*/ 3763149 h 4198944"/>
              <a:gd name="connsiteX6" fmla="*/ 1222390 w 2274275"/>
              <a:gd name="connsiteY6" fmla="*/ 4192750 h 4198944"/>
              <a:gd name="connsiteX7" fmla="*/ 0 w 2274275"/>
              <a:gd name="connsiteY7" fmla="*/ 4192592 h 4198944"/>
              <a:gd name="connsiteX8" fmla="*/ 4 w 2274275"/>
              <a:gd name="connsiteY8" fmla="*/ 0 h 4198944"/>
              <a:gd name="connsiteX0" fmla="*/ 4 w 2274275"/>
              <a:gd name="connsiteY0" fmla="*/ 0 h 4198944"/>
              <a:gd name="connsiteX1" fmla="*/ 2274113 w 2274275"/>
              <a:gd name="connsiteY1" fmla="*/ 794 h 4198944"/>
              <a:gd name="connsiteX2" fmla="*/ 2271735 w 2274275"/>
              <a:gd name="connsiteY2" fmla="*/ 4191004 h 4198944"/>
              <a:gd name="connsiteX3" fmla="*/ 2194001 w 2274275"/>
              <a:gd name="connsiteY3" fmla="*/ 4198944 h 4198944"/>
              <a:gd name="connsiteX4" fmla="*/ 2194363 w 2274275"/>
              <a:gd name="connsiteY4" fmla="*/ 3765531 h 4198944"/>
              <a:gd name="connsiteX5" fmla="*/ 1571032 w 2274275"/>
              <a:gd name="connsiteY5" fmla="*/ 3763149 h 4198944"/>
              <a:gd name="connsiteX6" fmla="*/ 1571824 w 2274275"/>
              <a:gd name="connsiteY6" fmla="*/ 4195926 h 4198944"/>
              <a:gd name="connsiteX7" fmla="*/ 0 w 2274275"/>
              <a:gd name="connsiteY7" fmla="*/ 4192592 h 4198944"/>
              <a:gd name="connsiteX8" fmla="*/ 4 w 2274275"/>
              <a:gd name="connsiteY8" fmla="*/ 0 h 4198944"/>
              <a:gd name="connsiteX0" fmla="*/ 4 w 2274275"/>
              <a:gd name="connsiteY0" fmla="*/ 0 h 4198944"/>
              <a:gd name="connsiteX1" fmla="*/ 2274113 w 2274275"/>
              <a:gd name="connsiteY1" fmla="*/ 794 h 4198944"/>
              <a:gd name="connsiteX2" fmla="*/ 2271735 w 2274275"/>
              <a:gd name="connsiteY2" fmla="*/ 4191004 h 4198944"/>
              <a:gd name="connsiteX3" fmla="*/ 2194001 w 2274275"/>
              <a:gd name="connsiteY3" fmla="*/ 4198944 h 4198944"/>
              <a:gd name="connsiteX4" fmla="*/ 2223517 w 2274275"/>
              <a:gd name="connsiteY4" fmla="*/ 3765531 h 4198944"/>
              <a:gd name="connsiteX5" fmla="*/ 1571032 w 2274275"/>
              <a:gd name="connsiteY5" fmla="*/ 3763149 h 4198944"/>
              <a:gd name="connsiteX6" fmla="*/ 1571824 w 2274275"/>
              <a:gd name="connsiteY6" fmla="*/ 4195926 h 4198944"/>
              <a:gd name="connsiteX7" fmla="*/ 0 w 2274275"/>
              <a:gd name="connsiteY7" fmla="*/ 4192592 h 4198944"/>
              <a:gd name="connsiteX8" fmla="*/ 4 w 2274275"/>
              <a:gd name="connsiteY8" fmla="*/ 0 h 4198944"/>
              <a:gd name="connsiteX0" fmla="*/ 4 w 2274275"/>
              <a:gd name="connsiteY0" fmla="*/ 0 h 4205296"/>
              <a:gd name="connsiteX1" fmla="*/ 2274113 w 2274275"/>
              <a:gd name="connsiteY1" fmla="*/ 794 h 4205296"/>
              <a:gd name="connsiteX2" fmla="*/ 2271735 w 2274275"/>
              <a:gd name="connsiteY2" fmla="*/ 4191004 h 4205296"/>
              <a:gd name="connsiteX3" fmla="*/ 2221449 w 2274275"/>
              <a:gd name="connsiteY3" fmla="*/ 4205296 h 4205296"/>
              <a:gd name="connsiteX4" fmla="*/ 2223517 w 2274275"/>
              <a:gd name="connsiteY4" fmla="*/ 3765531 h 4205296"/>
              <a:gd name="connsiteX5" fmla="*/ 1571032 w 2274275"/>
              <a:gd name="connsiteY5" fmla="*/ 3763149 h 4205296"/>
              <a:gd name="connsiteX6" fmla="*/ 1571824 w 2274275"/>
              <a:gd name="connsiteY6" fmla="*/ 4195926 h 4205296"/>
              <a:gd name="connsiteX7" fmla="*/ 0 w 2274275"/>
              <a:gd name="connsiteY7" fmla="*/ 4192592 h 4205296"/>
              <a:gd name="connsiteX8" fmla="*/ 4 w 2274275"/>
              <a:gd name="connsiteY8" fmla="*/ 0 h 4205296"/>
              <a:gd name="connsiteX0" fmla="*/ 4 w 2274275"/>
              <a:gd name="connsiteY0" fmla="*/ 0 h 4205296"/>
              <a:gd name="connsiteX1" fmla="*/ 2274113 w 2274275"/>
              <a:gd name="connsiteY1" fmla="*/ 794 h 4205296"/>
              <a:gd name="connsiteX2" fmla="*/ 2271735 w 2274275"/>
              <a:gd name="connsiteY2" fmla="*/ 4191004 h 4205296"/>
              <a:gd name="connsiteX3" fmla="*/ 2221449 w 2274275"/>
              <a:gd name="connsiteY3" fmla="*/ 4205296 h 4205296"/>
              <a:gd name="connsiteX4" fmla="*/ 2220350 w 2274275"/>
              <a:gd name="connsiteY4" fmla="*/ 3765531 h 4205296"/>
              <a:gd name="connsiteX5" fmla="*/ 1571032 w 2274275"/>
              <a:gd name="connsiteY5" fmla="*/ 3763149 h 4205296"/>
              <a:gd name="connsiteX6" fmla="*/ 1571824 w 2274275"/>
              <a:gd name="connsiteY6" fmla="*/ 4195926 h 4205296"/>
              <a:gd name="connsiteX7" fmla="*/ 0 w 2274275"/>
              <a:gd name="connsiteY7" fmla="*/ 4192592 h 4205296"/>
              <a:gd name="connsiteX8" fmla="*/ 4 w 2274275"/>
              <a:gd name="connsiteY8" fmla="*/ 0 h 4205296"/>
              <a:gd name="connsiteX0" fmla="*/ 4 w 2274275"/>
              <a:gd name="connsiteY0" fmla="*/ 0 h 4195926"/>
              <a:gd name="connsiteX1" fmla="*/ 2274113 w 2274275"/>
              <a:gd name="connsiteY1" fmla="*/ 794 h 4195926"/>
              <a:gd name="connsiteX2" fmla="*/ 2271735 w 2274275"/>
              <a:gd name="connsiteY2" fmla="*/ 4191004 h 4195926"/>
              <a:gd name="connsiteX3" fmla="*/ 2221449 w 2274275"/>
              <a:gd name="connsiteY3" fmla="*/ 4195767 h 4195926"/>
              <a:gd name="connsiteX4" fmla="*/ 2220350 w 2274275"/>
              <a:gd name="connsiteY4" fmla="*/ 3765531 h 4195926"/>
              <a:gd name="connsiteX5" fmla="*/ 1571032 w 2274275"/>
              <a:gd name="connsiteY5" fmla="*/ 3763149 h 4195926"/>
              <a:gd name="connsiteX6" fmla="*/ 1571824 w 2274275"/>
              <a:gd name="connsiteY6" fmla="*/ 4195926 h 4195926"/>
              <a:gd name="connsiteX7" fmla="*/ 0 w 2274275"/>
              <a:gd name="connsiteY7" fmla="*/ 4192592 h 4195926"/>
              <a:gd name="connsiteX8" fmla="*/ 4 w 2274275"/>
              <a:gd name="connsiteY8" fmla="*/ 0 h 4195926"/>
              <a:gd name="connsiteX0" fmla="*/ 4 w 2274275"/>
              <a:gd name="connsiteY0" fmla="*/ 0 h 4198308"/>
              <a:gd name="connsiteX1" fmla="*/ 2274113 w 2274275"/>
              <a:gd name="connsiteY1" fmla="*/ 794 h 4198308"/>
              <a:gd name="connsiteX2" fmla="*/ 2271735 w 2274275"/>
              <a:gd name="connsiteY2" fmla="*/ 4191004 h 4198308"/>
              <a:gd name="connsiteX3" fmla="*/ 2221449 w 2274275"/>
              <a:gd name="connsiteY3" fmla="*/ 4195767 h 4198308"/>
              <a:gd name="connsiteX4" fmla="*/ 2220350 w 2274275"/>
              <a:gd name="connsiteY4" fmla="*/ 3765531 h 4198308"/>
              <a:gd name="connsiteX5" fmla="*/ 1571032 w 2274275"/>
              <a:gd name="connsiteY5" fmla="*/ 3763149 h 4198308"/>
              <a:gd name="connsiteX6" fmla="*/ 1586076 w 2274275"/>
              <a:gd name="connsiteY6" fmla="*/ 4198308 h 4198308"/>
              <a:gd name="connsiteX7" fmla="*/ 0 w 2274275"/>
              <a:gd name="connsiteY7" fmla="*/ 4192592 h 4198308"/>
              <a:gd name="connsiteX8" fmla="*/ 4 w 2274275"/>
              <a:gd name="connsiteY8" fmla="*/ 0 h 4198308"/>
              <a:gd name="connsiteX0" fmla="*/ 4 w 2274275"/>
              <a:gd name="connsiteY0" fmla="*/ 0 h 4198308"/>
              <a:gd name="connsiteX1" fmla="*/ 2274113 w 2274275"/>
              <a:gd name="connsiteY1" fmla="*/ 794 h 4198308"/>
              <a:gd name="connsiteX2" fmla="*/ 2271735 w 2274275"/>
              <a:gd name="connsiteY2" fmla="*/ 4191004 h 4198308"/>
              <a:gd name="connsiteX3" fmla="*/ 2221449 w 2274275"/>
              <a:gd name="connsiteY3" fmla="*/ 4195767 h 4198308"/>
              <a:gd name="connsiteX4" fmla="*/ 2220350 w 2274275"/>
              <a:gd name="connsiteY4" fmla="*/ 3765531 h 4198308"/>
              <a:gd name="connsiteX5" fmla="*/ 1585284 w 2274275"/>
              <a:gd name="connsiteY5" fmla="*/ 3496347 h 4198308"/>
              <a:gd name="connsiteX6" fmla="*/ 1586076 w 2274275"/>
              <a:gd name="connsiteY6" fmla="*/ 4198308 h 4198308"/>
              <a:gd name="connsiteX7" fmla="*/ 0 w 2274275"/>
              <a:gd name="connsiteY7" fmla="*/ 4192592 h 4198308"/>
              <a:gd name="connsiteX8" fmla="*/ 4 w 2274275"/>
              <a:gd name="connsiteY8" fmla="*/ 0 h 4198308"/>
              <a:gd name="connsiteX0" fmla="*/ 4 w 2274275"/>
              <a:gd name="connsiteY0" fmla="*/ 0 h 4198308"/>
              <a:gd name="connsiteX1" fmla="*/ 2274113 w 2274275"/>
              <a:gd name="connsiteY1" fmla="*/ 794 h 4198308"/>
              <a:gd name="connsiteX2" fmla="*/ 2271735 w 2274275"/>
              <a:gd name="connsiteY2" fmla="*/ 4191004 h 4198308"/>
              <a:gd name="connsiteX3" fmla="*/ 2221449 w 2274275"/>
              <a:gd name="connsiteY3" fmla="*/ 4195767 h 4198308"/>
              <a:gd name="connsiteX4" fmla="*/ 2218767 w 2274275"/>
              <a:gd name="connsiteY4" fmla="*/ 3493966 h 4198308"/>
              <a:gd name="connsiteX5" fmla="*/ 1585284 w 2274275"/>
              <a:gd name="connsiteY5" fmla="*/ 3496347 h 4198308"/>
              <a:gd name="connsiteX6" fmla="*/ 1586076 w 2274275"/>
              <a:gd name="connsiteY6" fmla="*/ 4198308 h 4198308"/>
              <a:gd name="connsiteX7" fmla="*/ 0 w 2274275"/>
              <a:gd name="connsiteY7" fmla="*/ 4192592 h 4198308"/>
              <a:gd name="connsiteX8" fmla="*/ 4 w 2274275"/>
              <a:gd name="connsiteY8" fmla="*/ 0 h 4198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4275" h="4198308">
                <a:moveTo>
                  <a:pt x="4" y="0"/>
                </a:moveTo>
                <a:lnTo>
                  <a:pt x="2274113" y="794"/>
                </a:lnTo>
                <a:cubicBezTo>
                  <a:pt x="2275169" y="1393560"/>
                  <a:pt x="2270679" y="2798238"/>
                  <a:pt x="2271735" y="4191004"/>
                </a:cubicBezTo>
                <a:lnTo>
                  <a:pt x="2221449" y="4195767"/>
                </a:lnTo>
                <a:cubicBezTo>
                  <a:pt x="2221831" y="4073265"/>
                  <a:pt x="2218385" y="3616468"/>
                  <a:pt x="2218767" y="3493966"/>
                </a:cubicBezTo>
                <a:lnTo>
                  <a:pt x="1585284" y="3496347"/>
                </a:lnTo>
                <a:cubicBezTo>
                  <a:pt x="1585337" y="3618373"/>
                  <a:pt x="1586023" y="4076282"/>
                  <a:pt x="1586076" y="4198308"/>
                </a:cubicBezTo>
                <a:lnTo>
                  <a:pt x="0" y="4192592"/>
                </a:lnTo>
                <a:cubicBezTo>
                  <a:pt x="1" y="2798238"/>
                  <a:pt x="3" y="1394354"/>
                  <a:pt x="4" y="0"/>
                </a:cubicBezTo>
                <a:close/>
              </a:path>
            </a:pathLst>
          </a:custGeom>
          <a:noFill/>
          <a:ln>
            <a:noFill/>
          </a:ln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de-AT" dirty="0"/>
          </a:p>
        </p:txBody>
      </p:sp>
      <p:pic>
        <p:nvPicPr>
          <p:cNvPr id="12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8574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367" userDrawn="1">
          <p15:clr>
            <a:srgbClr val="FBAE40"/>
          </p15:clr>
        </p15:guide>
        <p15:guide id="2" orient="horz" pos="591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9112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4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676437" y="1179637"/>
            <a:ext cx="5522400" cy="900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AT" dirty="0"/>
            </a:lvl1pPr>
          </a:lstStyle>
          <a:p>
            <a:pPr lvl="0"/>
            <a:r>
              <a:rPr lang="de-DE" dirty="0"/>
              <a:t>Titel einfügen (maximal 3-zeilig!)</a:t>
            </a:r>
            <a:endParaRPr lang="de-AT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Bildplatzhalter 7"/>
          <p:cNvSpPr>
            <a:spLocks noGrp="1"/>
          </p:cNvSpPr>
          <p:nvPr>
            <p:ph type="pic" sz="quarter" idx="24"/>
          </p:nvPr>
        </p:nvSpPr>
        <p:spPr>
          <a:xfrm>
            <a:off x="542926" y="2465390"/>
            <a:ext cx="6840539" cy="7309121"/>
          </a:xfrm>
          <a:custGeom>
            <a:avLst/>
            <a:gdLst>
              <a:gd name="connsiteX0" fmla="*/ 0 w 6843713"/>
              <a:gd name="connsiteY0" fmla="*/ 0 h 7483475"/>
              <a:gd name="connsiteX1" fmla="*/ 6843713 w 6843713"/>
              <a:gd name="connsiteY1" fmla="*/ 0 h 7483475"/>
              <a:gd name="connsiteX2" fmla="*/ 6843713 w 6843713"/>
              <a:gd name="connsiteY2" fmla="*/ 7483475 h 7483475"/>
              <a:gd name="connsiteX3" fmla="*/ 0 w 6843713"/>
              <a:gd name="connsiteY3" fmla="*/ 7483475 h 7483475"/>
              <a:gd name="connsiteX4" fmla="*/ 0 w 6843713"/>
              <a:gd name="connsiteY4" fmla="*/ 0 h 7483475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0 w 6843713"/>
              <a:gd name="connsiteY4" fmla="*/ 7483475 h 7485254"/>
              <a:gd name="connsiteX5" fmla="*/ 0 w 6843713"/>
              <a:gd name="connsiteY5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0 w 6843713"/>
              <a:gd name="connsiteY5" fmla="*/ 7483475 h 7485254"/>
              <a:gd name="connsiteX6" fmla="*/ 0 w 6843713"/>
              <a:gd name="connsiteY6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4946651 w 6843713"/>
              <a:gd name="connsiteY5" fmla="*/ 6618286 h 7485254"/>
              <a:gd name="connsiteX6" fmla="*/ 0 w 6843713"/>
              <a:gd name="connsiteY6" fmla="*/ 7483475 h 7485254"/>
              <a:gd name="connsiteX7" fmla="*/ 0 w 6843713"/>
              <a:gd name="connsiteY7" fmla="*/ 0 h 748525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9189"/>
              <a:gd name="connsiteX1" fmla="*/ 6843713 w 6843713"/>
              <a:gd name="connsiteY1" fmla="*/ 0 h 7489189"/>
              <a:gd name="connsiteX2" fmla="*/ 6843713 w 6843713"/>
              <a:gd name="connsiteY2" fmla="*/ 7483475 h 7489189"/>
              <a:gd name="connsiteX3" fmla="*/ 6663532 w 6843713"/>
              <a:gd name="connsiteY3" fmla="*/ 7485062 h 7489189"/>
              <a:gd name="connsiteX4" fmla="*/ 6658770 w 6843713"/>
              <a:gd name="connsiteY4" fmla="*/ 6613524 h 7489189"/>
              <a:gd name="connsiteX5" fmla="*/ 4946651 w 6843713"/>
              <a:gd name="connsiteY5" fmla="*/ 6618286 h 7489189"/>
              <a:gd name="connsiteX6" fmla="*/ 4956335 w 6843713"/>
              <a:gd name="connsiteY6" fmla="*/ 7489189 h 7489189"/>
              <a:gd name="connsiteX7" fmla="*/ 0 w 6843713"/>
              <a:gd name="connsiteY7" fmla="*/ 7483475 h 7489189"/>
              <a:gd name="connsiteX8" fmla="*/ 0 w 6843713"/>
              <a:gd name="connsiteY8" fmla="*/ 0 h 7489189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3243301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3243301 w 6843713"/>
              <a:gd name="connsiteY8" fmla="*/ 0 h 7486807"/>
              <a:gd name="connsiteX0" fmla="*/ 0 w 3600412"/>
              <a:gd name="connsiteY0" fmla="*/ 0 h 7496175"/>
              <a:gd name="connsiteX1" fmla="*/ 3600412 w 3600412"/>
              <a:gd name="connsiteY1" fmla="*/ 0 h 7496175"/>
              <a:gd name="connsiteX2" fmla="*/ 3600412 w 3600412"/>
              <a:gd name="connsiteY2" fmla="*/ 7483475 h 7496175"/>
              <a:gd name="connsiteX3" fmla="*/ 3420231 w 3600412"/>
              <a:gd name="connsiteY3" fmla="*/ 7482681 h 7496175"/>
              <a:gd name="connsiteX4" fmla="*/ 3420231 w 3600412"/>
              <a:gd name="connsiteY4" fmla="*/ 6618287 h 7496175"/>
              <a:gd name="connsiteX5" fmla="*/ 1703350 w 3600412"/>
              <a:gd name="connsiteY5" fmla="*/ 6618286 h 7496175"/>
              <a:gd name="connsiteX6" fmla="*/ 1703509 w 3600412"/>
              <a:gd name="connsiteY6" fmla="*/ 7486807 h 7496175"/>
              <a:gd name="connsiteX7" fmla="*/ 25338 w 3600412"/>
              <a:gd name="connsiteY7" fmla="*/ 7496175 h 7496175"/>
              <a:gd name="connsiteX8" fmla="*/ 0 w 3600412"/>
              <a:gd name="connsiteY8" fmla="*/ 0 h 7496175"/>
              <a:gd name="connsiteX0" fmla="*/ 1266915 w 3575074"/>
              <a:gd name="connsiteY0" fmla="*/ 3340100 h 7496175"/>
              <a:gd name="connsiteX1" fmla="*/ 3575074 w 3575074"/>
              <a:gd name="connsiteY1" fmla="*/ 0 h 7496175"/>
              <a:gd name="connsiteX2" fmla="*/ 3575074 w 3575074"/>
              <a:gd name="connsiteY2" fmla="*/ 7483475 h 7496175"/>
              <a:gd name="connsiteX3" fmla="*/ 3394893 w 3575074"/>
              <a:gd name="connsiteY3" fmla="*/ 7482681 h 7496175"/>
              <a:gd name="connsiteX4" fmla="*/ 3394893 w 3575074"/>
              <a:gd name="connsiteY4" fmla="*/ 6618287 h 7496175"/>
              <a:gd name="connsiteX5" fmla="*/ 1678012 w 3575074"/>
              <a:gd name="connsiteY5" fmla="*/ 6618286 h 7496175"/>
              <a:gd name="connsiteX6" fmla="*/ 1678171 w 3575074"/>
              <a:gd name="connsiteY6" fmla="*/ 7486807 h 7496175"/>
              <a:gd name="connsiteX7" fmla="*/ 0 w 3575074"/>
              <a:gd name="connsiteY7" fmla="*/ 7496175 h 7496175"/>
              <a:gd name="connsiteX8" fmla="*/ 1266915 w 3575074"/>
              <a:gd name="connsiteY8" fmla="*/ 3340100 h 7496175"/>
              <a:gd name="connsiteX0" fmla="*/ 1266915 w 3575074"/>
              <a:gd name="connsiteY0" fmla="*/ 25400 h 4181475"/>
              <a:gd name="connsiteX1" fmla="*/ 3562405 w 3575074"/>
              <a:gd name="connsiteY1" fmla="*/ 0 h 4181475"/>
              <a:gd name="connsiteX2" fmla="*/ 3575074 w 3575074"/>
              <a:gd name="connsiteY2" fmla="*/ 4168775 h 4181475"/>
              <a:gd name="connsiteX3" fmla="*/ 3394893 w 3575074"/>
              <a:gd name="connsiteY3" fmla="*/ 4167981 h 4181475"/>
              <a:gd name="connsiteX4" fmla="*/ 3394893 w 3575074"/>
              <a:gd name="connsiteY4" fmla="*/ 3303587 h 4181475"/>
              <a:gd name="connsiteX5" fmla="*/ 1678012 w 3575074"/>
              <a:gd name="connsiteY5" fmla="*/ 3303586 h 4181475"/>
              <a:gd name="connsiteX6" fmla="*/ 1678171 w 3575074"/>
              <a:gd name="connsiteY6" fmla="*/ 4172107 h 4181475"/>
              <a:gd name="connsiteX7" fmla="*/ 0 w 3575074"/>
              <a:gd name="connsiteY7" fmla="*/ 4181475 h 4181475"/>
              <a:gd name="connsiteX8" fmla="*/ 1266915 w 3575074"/>
              <a:gd name="connsiteY8" fmla="*/ 25400 h 4181475"/>
              <a:gd name="connsiteX0" fmla="*/ 1 w 2308160"/>
              <a:gd name="connsiteY0" fmla="*/ 25400 h 4194175"/>
              <a:gd name="connsiteX1" fmla="*/ 2295491 w 2308160"/>
              <a:gd name="connsiteY1" fmla="*/ 0 h 4194175"/>
              <a:gd name="connsiteX2" fmla="*/ 2308160 w 2308160"/>
              <a:gd name="connsiteY2" fmla="*/ 4168775 h 4194175"/>
              <a:gd name="connsiteX3" fmla="*/ 2127979 w 2308160"/>
              <a:gd name="connsiteY3" fmla="*/ 4167981 h 4194175"/>
              <a:gd name="connsiteX4" fmla="*/ 2127979 w 2308160"/>
              <a:gd name="connsiteY4" fmla="*/ 3303587 h 4194175"/>
              <a:gd name="connsiteX5" fmla="*/ 411098 w 2308160"/>
              <a:gd name="connsiteY5" fmla="*/ 3303586 h 4194175"/>
              <a:gd name="connsiteX6" fmla="*/ 411257 w 2308160"/>
              <a:gd name="connsiteY6" fmla="*/ 4172107 h 4194175"/>
              <a:gd name="connsiteX7" fmla="*/ 0 w 2308160"/>
              <a:gd name="connsiteY7" fmla="*/ 4194175 h 4194175"/>
              <a:gd name="connsiteX8" fmla="*/ 1 w 2308160"/>
              <a:gd name="connsiteY8" fmla="*/ 25400 h 4194175"/>
              <a:gd name="connsiteX0" fmla="*/ 23755 w 2308160"/>
              <a:gd name="connsiteY0" fmla="*/ 0 h 4211638"/>
              <a:gd name="connsiteX1" fmla="*/ 2295491 w 2308160"/>
              <a:gd name="connsiteY1" fmla="*/ 17463 h 4211638"/>
              <a:gd name="connsiteX2" fmla="*/ 2308160 w 2308160"/>
              <a:gd name="connsiteY2" fmla="*/ 4186238 h 4211638"/>
              <a:gd name="connsiteX3" fmla="*/ 2127979 w 2308160"/>
              <a:gd name="connsiteY3" fmla="*/ 4185444 h 4211638"/>
              <a:gd name="connsiteX4" fmla="*/ 2127979 w 2308160"/>
              <a:gd name="connsiteY4" fmla="*/ 3321050 h 4211638"/>
              <a:gd name="connsiteX5" fmla="*/ 411098 w 2308160"/>
              <a:gd name="connsiteY5" fmla="*/ 3321049 h 4211638"/>
              <a:gd name="connsiteX6" fmla="*/ 411257 w 2308160"/>
              <a:gd name="connsiteY6" fmla="*/ 4189570 h 4211638"/>
              <a:gd name="connsiteX7" fmla="*/ 0 w 2308160"/>
              <a:gd name="connsiteY7" fmla="*/ 4211638 h 4211638"/>
              <a:gd name="connsiteX8" fmla="*/ 23755 w 2308160"/>
              <a:gd name="connsiteY8" fmla="*/ 0 h 4211638"/>
              <a:gd name="connsiteX0" fmla="*/ 28507 w 2308160"/>
              <a:gd name="connsiteY0" fmla="*/ 0 h 4206875"/>
              <a:gd name="connsiteX1" fmla="*/ 2295491 w 2308160"/>
              <a:gd name="connsiteY1" fmla="*/ 12700 h 4206875"/>
              <a:gd name="connsiteX2" fmla="*/ 2308160 w 2308160"/>
              <a:gd name="connsiteY2" fmla="*/ 4181475 h 4206875"/>
              <a:gd name="connsiteX3" fmla="*/ 2127979 w 2308160"/>
              <a:gd name="connsiteY3" fmla="*/ 4180681 h 4206875"/>
              <a:gd name="connsiteX4" fmla="*/ 2127979 w 2308160"/>
              <a:gd name="connsiteY4" fmla="*/ 3316287 h 4206875"/>
              <a:gd name="connsiteX5" fmla="*/ 411098 w 2308160"/>
              <a:gd name="connsiteY5" fmla="*/ 3316286 h 4206875"/>
              <a:gd name="connsiteX6" fmla="*/ 411257 w 2308160"/>
              <a:gd name="connsiteY6" fmla="*/ 4184807 h 4206875"/>
              <a:gd name="connsiteX7" fmla="*/ 0 w 2308160"/>
              <a:gd name="connsiteY7" fmla="*/ 4206875 h 4206875"/>
              <a:gd name="connsiteX8" fmla="*/ 28507 w 2308160"/>
              <a:gd name="connsiteY8" fmla="*/ 0 h 4206875"/>
              <a:gd name="connsiteX0" fmla="*/ 28507 w 2314495"/>
              <a:gd name="connsiteY0" fmla="*/ 1587 h 4208462"/>
              <a:gd name="connsiteX1" fmla="*/ 2314495 w 2314495"/>
              <a:gd name="connsiteY1" fmla="*/ 0 h 4208462"/>
              <a:gd name="connsiteX2" fmla="*/ 2308160 w 2314495"/>
              <a:gd name="connsiteY2" fmla="*/ 4183062 h 4208462"/>
              <a:gd name="connsiteX3" fmla="*/ 2127979 w 2314495"/>
              <a:gd name="connsiteY3" fmla="*/ 4182268 h 4208462"/>
              <a:gd name="connsiteX4" fmla="*/ 2127979 w 2314495"/>
              <a:gd name="connsiteY4" fmla="*/ 3317874 h 4208462"/>
              <a:gd name="connsiteX5" fmla="*/ 411098 w 2314495"/>
              <a:gd name="connsiteY5" fmla="*/ 3317873 h 4208462"/>
              <a:gd name="connsiteX6" fmla="*/ 411257 w 2314495"/>
              <a:gd name="connsiteY6" fmla="*/ 4186394 h 4208462"/>
              <a:gd name="connsiteX7" fmla="*/ 0 w 2314495"/>
              <a:gd name="connsiteY7" fmla="*/ 4208462 h 4208462"/>
              <a:gd name="connsiteX8" fmla="*/ 28507 w 2314495"/>
              <a:gd name="connsiteY8" fmla="*/ 1587 h 4208462"/>
              <a:gd name="connsiteX0" fmla="*/ 28507 w 2308543"/>
              <a:gd name="connsiteY0" fmla="*/ 0 h 4206875"/>
              <a:gd name="connsiteX1" fmla="*/ 2304993 w 2308543"/>
              <a:gd name="connsiteY1" fmla="*/ 3176 h 4206875"/>
              <a:gd name="connsiteX2" fmla="*/ 2308160 w 2308543"/>
              <a:gd name="connsiteY2" fmla="*/ 4181475 h 4206875"/>
              <a:gd name="connsiteX3" fmla="*/ 2127979 w 2308543"/>
              <a:gd name="connsiteY3" fmla="*/ 4180681 h 4206875"/>
              <a:gd name="connsiteX4" fmla="*/ 2127979 w 2308543"/>
              <a:gd name="connsiteY4" fmla="*/ 3316287 h 4206875"/>
              <a:gd name="connsiteX5" fmla="*/ 411098 w 2308543"/>
              <a:gd name="connsiteY5" fmla="*/ 3316286 h 4206875"/>
              <a:gd name="connsiteX6" fmla="*/ 411257 w 2308543"/>
              <a:gd name="connsiteY6" fmla="*/ 4184807 h 4206875"/>
              <a:gd name="connsiteX7" fmla="*/ 0 w 2308543"/>
              <a:gd name="connsiteY7" fmla="*/ 4206875 h 4206875"/>
              <a:gd name="connsiteX8" fmla="*/ 28507 w 2308543"/>
              <a:gd name="connsiteY8" fmla="*/ 0 h 4206875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73538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099472 w 2280036"/>
              <a:gd name="connsiteY4" fmla="*/ 3316287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106598 w 2280036"/>
              <a:gd name="connsiteY4" fmla="*/ 3311525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1847 w 2280036"/>
              <a:gd name="connsiteY4" fmla="*/ 3316288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82591 w 2280036"/>
              <a:gd name="connsiteY5" fmla="*/ 3316286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2093 w 2280036"/>
              <a:gd name="connsiteY5" fmla="*/ 33186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54546 w 2280036"/>
              <a:gd name="connsiteY4" fmla="*/ 4104480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2639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6032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47211 w 2280036"/>
              <a:gd name="connsiteY3" fmla="*/ 416163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97327 w 2280036"/>
              <a:gd name="connsiteY3" fmla="*/ 4118768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64071 w 2280036"/>
              <a:gd name="connsiteY3" fmla="*/ 4130674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75950 w 2280036"/>
              <a:gd name="connsiteY3" fmla="*/ 4104480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055 w 2280036"/>
              <a:gd name="connsiteY3" fmla="*/ 3813175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3430 w 2280036"/>
              <a:gd name="connsiteY3" fmla="*/ 3810793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91618"/>
              <a:gd name="connsiteX1" fmla="*/ 2276486 w 2280036"/>
              <a:gd name="connsiteY1" fmla="*/ 3176 h 4191618"/>
              <a:gd name="connsiteX2" fmla="*/ 2279653 w 2280036"/>
              <a:gd name="connsiteY2" fmla="*/ 4181475 h 4191618"/>
              <a:gd name="connsiteX3" fmla="*/ 2099910 w 2280036"/>
              <a:gd name="connsiteY3" fmla="*/ 4180680 h 4191618"/>
              <a:gd name="connsiteX4" fmla="*/ 2103430 w 2280036"/>
              <a:gd name="connsiteY4" fmla="*/ 3810793 h 4191618"/>
              <a:gd name="connsiteX5" fmla="*/ 392093 w 2280036"/>
              <a:gd name="connsiteY5" fmla="*/ 3813967 h 4191618"/>
              <a:gd name="connsiteX6" fmla="*/ 389876 w 2280036"/>
              <a:gd name="connsiteY6" fmla="*/ 4180045 h 4191618"/>
              <a:gd name="connsiteX7" fmla="*/ 4750 w 2280036"/>
              <a:gd name="connsiteY7" fmla="*/ 4183063 h 4191618"/>
              <a:gd name="connsiteX8" fmla="*/ 0 w 2280036"/>
              <a:gd name="connsiteY8" fmla="*/ 0 h 4191618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6828259"/>
              <a:gd name="connsiteY0" fmla="*/ 0 h 7510463"/>
              <a:gd name="connsiteX1" fmla="*/ 6824709 w 6828259"/>
              <a:gd name="connsiteY1" fmla="*/ 3330576 h 7510463"/>
              <a:gd name="connsiteX2" fmla="*/ 6827876 w 6828259"/>
              <a:gd name="connsiteY2" fmla="*/ 7508875 h 7510463"/>
              <a:gd name="connsiteX3" fmla="*/ 6648133 w 6828259"/>
              <a:gd name="connsiteY3" fmla="*/ 7508080 h 7510463"/>
              <a:gd name="connsiteX4" fmla="*/ 6651653 w 6828259"/>
              <a:gd name="connsiteY4" fmla="*/ 7138193 h 7510463"/>
              <a:gd name="connsiteX5" fmla="*/ 4940316 w 6828259"/>
              <a:gd name="connsiteY5" fmla="*/ 7141367 h 7510463"/>
              <a:gd name="connsiteX6" fmla="*/ 4938099 w 6828259"/>
              <a:gd name="connsiteY6" fmla="*/ 7507445 h 7510463"/>
              <a:gd name="connsiteX7" fmla="*/ 4552973 w 6828259"/>
              <a:gd name="connsiteY7" fmla="*/ 7510463 h 7510463"/>
              <a:gd name="connsiteX8" fmla="*/ 0 w 6828259"/>
              <a:gd name="connsiteY8" fmla="*/ 0 h 7510463"/>
              <a:gd name="connsiteX0" fmla="*/ 0 w 6837379"/>
              <a:gd name="connsiteY0" fmla="*/ 0 h 7510463"/>
              <a:gd name="connsiteX1" fmla="*/ 6837379 w 6837379"/>
              <a:gd name="connsiteY1" fmla="*/ 28576 h 7510463"/>
              <a:gd name="connsiteX2" fmla="*/ 6827876 w 6837379"/>
              <a:gd name="connsiteY2" fmla="*/ 7508875 h 7510463"/>
              <a:gd name="connsiteX3" fmla="*/ 6648133 w 6837379"/>
              <a:gd name="connsiteY3" fmla="*/ 7508080 h 7510463"/>
              <a:gd name="connsiteX4" fmla="*/ 6651653 w 6837379"/>
              <a:gd name="connsiteY4" fmla="*/ 7138193 h 7510463"/>
              <a:gd name="connsiteX5" fmla="*/ 4940316 w 6837379"/>
              <a:gd name="connsiteY5" fmla="*/ 7141367 h 7510463"/>
              <a:gd name="connsiteX6" fmla="*/ 4938099 w 6837379"/>
              <a:gd name="connsiteY6" fmla="*/ 7507445 h 7510463"/>
              <a:gd name="connsiteX7" fmla="*/ 4552973 w 6837379"/>
              <a:gd name="connsiteY7" fmla="*/ 7510463 h 7510463"/>
              <a:gd name="connsiteX8" fmla="*/ 0 w 6837379"/>
              <a:gd name="connsiteY8" fmla="*/ 0 h 7510463"/>
              <a:gd name="connsiteX0" fmla="*/ 0 w 6837379"/>
              <a:gd name="connsiteY0" fmla="*/ 0 h 7535863"/>
              <a:gd name="connsiteX1" fmla="*/ 6837379 w 6837379"/>
              <a:gd name="connsiteY1" fmla="*/ 28576 h 7535863"/>
              <a:gd name="connsiteX2" fmla="*/ 6827876 w 6837379"/>
              <a:gd name="connsiteY2" fmla="*/ 7508875 h 7535863"/>
              <a:gd name="connsiteX3" fmla="*/ 6648133 w 6837379"/>
              <a:gd name="connsiteY3" fmla="*/ 7508080 h 7535863"/>
              <a:gd name="connsiteX4" fmla="*/ 6651653 w 6837379"/>
              <a:gd name="connsiteY4" fmla="*/ 7138193 h 7535863"/>
              <a:gd name="connsiteX5" fmla="*/ 4940316 w 6837379"/>
              <a:gd name="connsiteY5" fmla="*/ 7141367 h 7535863"/>
              <a:gd name="connsiteX6" fmla="*/ 4938099 w 6837379"/>
              <a:gd name="connsiteY6" fmla="*/ 7507445 h 7535863"/>
              <a:gd name="connsiteX7" fmla="*/ 17420 w 6837379"/>
              <a:gd name="connsiteY7" fmla="*/ 7535863 h 7535863"/>
              <a:gd name="connsiteX8" fmla="*/ 0 w 6837379"/>
              <a:gd name="connsiteY8" fmla="*/ 0 h 7535863"/>
              <a:gd name="connsiteX0" fmla="*/ 0 w 6824710"/>
              <a:gd name="connsiteY0" fmla="*/ 9524 h 7507287"/>
              <a:gd name="connsiteX1" fmla="*/ 6824710 w 6824710"/>
              <a:gd name="connsiteY1" fmla="*/ 0 h 7507287"/>
              <a:gd name="connsiteX2" fmla="*/ 6815207 w 6824710"/>
              <a:gd name="connsiteY2" fmla="*/ 7480299 h 7507287"/>
              <a:gd name="connsiteX3" fmla="*/ 6635464 w 6824710"/>
              <a:gd name="connsiteY3" fmla="*/ 7479504 h 7507287"/>
              <a:gd name="connsiteX4" fmla="*/ 6638984 w 6824710"/>
              <a:gd name="connsiteY4" fmla="*/ 7109617 h 7507287"/>
              <a:gd name="connsiteX5" fmla="*/ 4927647 w 6824710"/>
              <a:gd name="connsiteY5" fmla="*/ 7112791 h 7507287"/>
              <a:gd name="connsiteX6" fmla="*/ 4925430 w 6824710"/>
              <a:gd name="connsiteY6" fmla="*/ 7478869 h 7507287"/>
              <a:gd name="connsiteX7" fmla="*/ 4751 w 6824710"/>
              <a:gd name="connsiteY7" fmla="*/ 7507287 h 7507287"/>
              <a:gd name="connsiteX8" fmla="*/ 0 w 6824710"/>
              <a:gd name="connsiteY8" fmla="*/ 9524 h 7507287"/>
              <a:gd name="connsiteX0" fmla="*/ 14253 w 6819959"/>
              <a:gd name="connsiteY0" fmla="*/ 0 h 7507288"/>
              <a:gd name="connsiteX1" fmla="*/ 6819959 w 6819959"/>
              <a:gd name="connsiteY1" fmla="*/ 1 h 7507288"/>
              <a:gd name="connsiteX2" fmla="*/ 6810456 w 6819959"/>
              <a:gd name="connsiteY2" fmla="*/ 7480300 h 7507288"/>
              <a:gd name="connsiteX3" fmla="*/ 6630713 w 6819959"/>
              <a:gd name="connsiteY3" fmla="*/ 7479505 h 7507288"/>
              <a:gd name="connsiteX4" fmla="*/ 6634233 w 6819959"/>
              <a:gd name="connsiteY4" fmla="*/ 7109618 h 7507288"/>
              <a:gd name="connsiteX5" fmla="*/ 4922896 w 6819959"/>
              <a:gd name="connsiteY5" fmla="*/ 7112792 h 7507288"/>
              <a:gd name="connsiteX6" fmla="*/ 4920679 w 6819959"/>
              <a:gd name="connsiteY6" fmla="*/ 7478870 h 7507288"/>
              <a:gd name="connsiteX7" fmla="*/ 0 w 6819959"/>
              <a:gd name="connsiteY7" fmla="*/ 7507288 h 7507288"/>
              <a:gd name="connsiteX8" fmla="*/ 14253 w 6819959"/>
              <a:gd name="connsiteY8" fmla="*/ 0 h 7507288"/>
              <a:gd name="connsiteX0" fmla="*/ 14253 w 6819959"/>
              <a:gd name="connsiteY0" fmla="*/ 0 h 7497763"/>
              <a:gd name="connsiteX1" fmla="*/ 6819959 w 6819959"/>
              <a:gd name="connsiteY1" fmla="*/ 1 h 7497763"/>
              <a:gd name="connsiteX2" fmla="*/ 6810456 w 6819959"/>
              <a:gd name="connsiteY2" fmla="*/ 7480300 h 7497763"/>
              <a:gd name="connsiteX3" fmla="*/ 6630713 w 6819959"/>
              <a:gd name="connsiteY3" fmla="*/ 7479505 h 7497763"/>
              <a:gd name="connsiteX4" fmla="*/ 6634233 w 6819959"/>
              <a:gd name="connsiteY4" fmla="*/ 7109618 h 7497763"/>
              <a:gd name="connsiteX5" fmla="*/ 4922896 w 6819959"/>
              <a:gd name="connsiteY5" fmla="*/ 7112792 h 7497763"/>
              <a:gd name="connsiteX6" fmla="*/ 4920679 w 6819959"/>
              <a:gd name="connsiteY6" fmla="*/ 7478870 h 7497763"/>
              <a:gd name="connsiteX7" fmla="*/ 0 w 6819959"/>
              <a:gd name="connsiteY7" fmla="*/ 7497763 h 7497763"/>
              <a:gd name="connsiteX8" fmla="*/ 14253 w 6819959"/>
              <a:gd name="connsiteY8" fmla="*/ 0 h 7497763"/>
              <a:gd name="connsiteX0" fmla="*/ 4751 w 6810457"/>
              <a:gd name="connsiteY0" fmla="*/ 0 h 7480826"/>
              <a:gd name="connsiteX1" fmla="*/ 6810457 w 6810457"/>
              <a:gd name="connsiteY1" fmla="*/ 1 h 7480826"/>
              <a:gd name="connsiteX2" fmla="*/ 6800954 w 6810457"/>
              <a:gd name="connsiteY2" fmla="*/ 7480300 h 7480826"/>
              <a:gd name="connsiteX3" fmla="*/ 6621211 w 6810457"/>
              <a:gd name="connsiteY3" fmla="*/ 7479505 h 7480826"/>
              <a:gd name="connsiteX4" fmla="*/ 6624731 w 6810457"/>
              <a:gd name="connsiteY4" fmla="*/ 7109618 h 7480826"/>
              <a:gd name="connsiteX5" fmla="*/ 4913394 w 6810457"/>
              <a:gd name="connsiteY5" fmla="*/ 7112792 h 7480826"/>
              <a:gd name="connsiteX6" fmla="*/ 4911177 w 6810457"/>
              <a:gd name="connsiteY6" fmla="*/ 7478870 h 7480826"/>
              <a:gd name="connsiteX7" fmla="*/ 0 w 6810457"/>
              <a:gd name="connsiteY7" fmla="*/ 7469188 h 7480826"/>
              <a:gd name="connsiteX8" fmla="*/ 4751 w 6810457"/>
              <a:gd name="connsiteY8" fmla="*/ 0 h 7480826"/>
              <a:gd name="connsiteX0" fmla="*/ 8017 w 6813723"/>
              <a:gd name="connsiteY0" fmla="*/ 0 h 7480826"/>
              <a:gd name="connsiteX1" fmla="*/ 6813723 w 6813723"/>
              <a:gd name="connsiteY1" fmla="*/ 1 h 7480826"/>
              <a:gd name="connsiteX2" fmla="*/ 6804220 w 6813723"/>
              <a:gd name="connsiteY2" fmla="*/ 7480300 h 7480826"/>
              <a:gd name="connsiteX3" fmla="*/ 6624477 w 6813723"/>
              <a:gd name="connsiteY3" fmla="*/ 7479505 h 7480826"/>
              <a:gd name="connsiteX4" fmla="*/ 6627997 w 6813723"/>
              <a:gd name="connsiteY4" fmla="*/ 7109618 h 7480826"/>
              <a:gd name="connsiteX5" fmla="*/ 4916660 w 6813723"/>
              <a:gd name="connsiteY5" fmla="*/ 7112792 h 7480826"/>
              <a:gd name="connsiteX6" fmla="*/ 4914443 w 6813723"/>
              <a:gd name="connsiteY6" fmla="*/ 7478870 h 7480826"/>
              <a:gd name="connsiteX7" fmla="*/ 3266 w 6813723"/>
              <a:gd name="connsiteY7" fmla="*/ 7469188 h 7480826"/>
              <a:gd name="connsiteX8" fmla="*/ 8017 w 6813723"/>
              <a:gd name="connsiteY8" fmla="*/ 0 h 7480826"/>
              <a:gd name="connsiteX0" fmla="*/ 8017 w 6813723"/>
              <a:gd name="connsiteY0" fmla="*/ 0 h 7480826"/>
              <a:gd name="connsiteX1" fmla="*/ 6813723 w 6813723"/>
              <a:gd name="connsiteY1" fmla="*/ 1 h 7480826"/>
              <a:gd name="connsiteX2" fmla="*/ 6804220 w 6813723"/>
              <a:gd name="connsiteY2" fmla="*/ 7480300 h 7480826"/>
              <a:gd name="connsiteX3" fmla="*/ 6624477 w 6813723"/>
              <a:gd name="connsiteY3" fmla="*/ 7479505 h 7480826"/>
              <a:gd name="connsiteX4" fmla="*/ 6627997 w 6813723"/>
              <a:gd name="connsiteY4" fmla="*/ 7109618 h 7480826"/>
              <a:gd name="connsiteX5" fmla="*/ 4916660 w 6813723"/>
              <a:gd name="connsiteY5" fmla="*/ 7112792 h 7480826"/>
              <a:gd name="connsiteX6" fmla="*/ 4914443 w 6813723"/>
              <a:gd name="connsiteY6" fmla="*/ 7478870 h 7480826"/>
              <a:gd name="connsiteX7" fmla="*/ 3266 w 6813723"/>
              <a:gd name="connsiteY7" fmla="*/ 7469188 h 7480826"/>
              <a:gd name="connsiteX8" fmla="*/ 8017 w 6813723"/>
              <a:gd name="connsiteY8" fmla="*/ 0 h 7480826"/>
              <a:gd name="connsiteX0" fmla="*/ 8017 w 6813723"/>
              <a:gd name="connsiteY0" fmla="*/ 0 h 7480826"/>
              <a:gd name="connsiteX1" fmla="*/ 6813723 w 6813723"/>
              <a:gd name="connsiteY1" fmla="*/ 1 h 7480826"/>
              <a:gd name="connsiteX2" fmla="*/ 6804220 w 6813723"/>
              <a:gd name="connsiteY2" fmla="*/ 7480300 h 7480826"/>
              <a:gd name="connsiteX3" fmla="*/ 6627644 w 6813723"/>
              <a:gd name="connsiteY3" fmla="*/ 7479505 h 7480826"/>
              <a:gd name="connsiteX4" fmla="*/ 6627997 w 6813723"/>
              <a:gd name="connsiteY4" fmla="*/ 7109618 h 7480826"/>
              <a:gd name="connsiteX5" fmla="*/ 4916660 w 6813723"/>
              <a:gd name="connsiteY5" fmla="*/ 7112792 h 7480826"/>
              <a:gd name="connsiteX6" fmla="*/ 4914443 w 6813723"/>
              <a:gd name="connsiteY6" fmla="*/ 7478870 h 7480826"/>
              <a:gd name="connsiteX7" fmla="*/ 3266 w 6813723"/>
              <a:gd name="connsiteY7" fmla="*/ 7469188 h 7480826"/>
              <a:gd name="connsiteX8" fmla="*/ 8017 w 6813723"/>
              <a:gd name="connsiteY8" fmla="*/ 0 h 7480826"/>
              <a:gd name="connsiteX0" fmla="*/ 8017 w 6813723"/>
              <a:gd name="connsiteY0" fmla="*/ 0 h 7480826"/>
              <a:gd name="connsiteX1" fmla="*/ 6813723 w 6813723"/>
              <a:gd name="connsiteY1" fmla="*/ 1 h 7480826"/>
              <a:gd name="connsiteX2" fmla="*/ 6804220 w 6813723"/>
              <a:gd name="connsiteY2" fmla="*/ 7480300 h 7480826"/>
              <a:gd name="connsiteX3" fmla="*/ 6627644 w 6813723"/>
              <a:gd name="connsiteY3" fmla="*/ 7479505 h 7480826"/>
              <a:gd name="connsiteX4" fmla="*/ 6627997 w 6813723"/>
              <a:gd name="connsiteY4" fmla="*/ 7109618 h 7480826"/>
              <a:gd name="connsiteX5" fmla="*/ 4916660 w 6813723"/>
              <a:gd name="connsiteY5" fmla="*/ 7112792 h 7480826"/>
              <a:gd name="connsiteX6" fmla="*/ 4914443 w 6813723"/>
              <a:gd name="connsiteY6" fmla="*/ 7478870 h 7480826"/>
              <a:gd name="connsiteX7" fmla="*/ 3266 w 6813723"/>
              <a:gd name="connsiteY7" fmla="*/ 7469188 h 7480826"/>
              <a:gd name="connsiteX8" fmla="*/ 8017 w 6813723"/>
              <a:gd name="connsiteY8" fmla="*/ 0 h 7480826"/>
              <a:gd name="connsiteX0" fmla="*/ 8017 w 6813723"/>
              <a:gd name="connsiteY0" fmla="*/ 0 h 7480826"/>
              <a:gd name="connsiteX1" fmla="*/ 6813723 w 6813723"/>
              <a:gd name="connsiteY1" fmla="*/ 1 h 7480826"/>
              <a:gd name="connsiteX2" fmla="*/ 6804220 w 6813723"/>
              <a:gd name="connsiteY2" fmla="*/ 7480300 h 7480826"/>
              <a:gd name="connsiteX3" fmla="*/ 6627644 w 6813723"/>
              <a:gd name="connsiteY3" fmla="*/ 7479505 h 7480826"/>
              <a:gd name="connsiteX4" fmla="*/ 6631165 w 6813723"/>
              <a:gd name="connsiteY4" fmla="*/ 7103268 h 7480826"/>
              <a:gd name="connsiteX5" fmla="*/ 4916660 w 6813723"/>
              <a:gd name="connsiteY5" fmla="*/ 7112792 h 7480826"/>
              <a:gd name="connsiteX6" fmla="*/ 4914443 w 6813723"/>
              <a:gd name="connsiteY6" fmla="*/ 7478870 h 7480826"/>
              <a:gd name="connsiteX7" fmla="*/ 3266 w 6813723"/>
              <a:gd name="connsiteY7" fmla="*/ 7469188 h 7480826"/>
              <a:gd name="connsiteX8" fmla="*/ 8017 w 6813723"/>
              <a:gd name="connsiteY8" fmla="*/ 0 h 7480826"/>
              <a:gd name="connsiteX0" fmla="*/ 8017 w 6813723"/>
              <a:gd name="connsiteY0" fmla="*/ 0 h 7480826"/>
              <a:gd name="connsiteX1" fmla="*/ 6813723 w 6813723"/>
              <a:gd name="connsiteY1" fmla="*/ 1 h 7480826"/>
              <a:gd name="connsiteX2" fmla="*/ 6804220 w 6813723"/>
              <a:gd name="connsiteY2" fmla="*/ 7480300 h 7480826"/>
              <a:gd name="connsiteX3" fmla="*/ 6627644 w 6813723"/>
              <a:gd name="connsiteY3" fmla="*/ 7479505 h 7480826"/>
              <a:gd name="connsiteX4" fmla="*/ 6631165 w 6813723"/>
              <a:gd name="connsiteY4" fmla="*/ 7103268 h 7480826"/>
              <a:gd name="connsiteX5" fmla="*/ 4913493 w 6813723"/>
              <a:gd name="connsiteY5" fmla="*/ 7112792 h 7480826"/>
              <a:gd name="connsiteX6" fmla="*/ 4914443 w 6813723"/>
              <a:gd name="connsiteY6" fmla="*/ 7478870 h 7480826"/>
              <a:gd name="connsiteX7" fmla="*/ 3266 w 6813723"/>
              <a:gd name="connsiteY7" fmla="*/ 7469188 h 7480826"/>
              <a:gd name="connsiteX8" fmla="*/ 8017 w 6813723"/>
              <a:gd name="connsiteY8" fmla="*/ 0 h 7480826"/>
              <a:gd name="connsiteX0" fmla="*/ 8017 w 6813723"/>
              <a:gd name="connsiteY0" fmla="*/ 0 h 7480826"/>
              <a:gd name="connsiteX1" fmla="*/ 6813723 w 6813723"/>
              <a:gd name="connsiteY1" fmla="*/ 1 h 7480826"/>
              <a:gd name="connsiteX2" fmla="*/ 6804220 w 6813723"/>
              <a:gd name="connsiteY2" fmla="*/ 7480300 h 7480826"/>
              <a:gd name="connsiteX3" fmla="*/ 6627644 w 6813723"/>
              <a:gd name="connsiteY3" fmla="*/ 7479505 h 7480826"/>
              <a:gd name="connsiteX4" fmla="*/ 6631166 w 6813723"/>
              <a:gd name="connsiteY4" fmla="*/ 7112793 h 7480826"/>
              <a:gd name="connsiteX5" fmla="*/ 4913493 w 6813723"/>
              <a:gd name="connsiteY5" fmla="*/ 7112792 h 7480826"/>
              <a:gd name="connsiteX6" fmla="*/ 4914443 w 6813723"/>
              <a:gd name="connsiteY6" fmla="*/ 7478870 h 7480826"/>
              <a:gd name="connsiteX7" fmla="*/ 3266 w 6813723"/>
              <a:gd name="connsiteY7" fmla="*/ 7469188 h 7480826"/>
              <a:gd name="connsiteX8" fmla="*/ 8017 w 6813723"/>
              <a:gd name="connsiteY8" fmla="*/ 0 h 7480826"/>
              <a:gd name="connsiteX0" fmla="*/ 8017 w 6813723"/>
              <a:gd name="connsiteY0" fmla="*/ 0 h 7480826"/>
              <a:gd name="connsiteX1" fmla="*/ 6813723 w 6813723"/>
              <a:gd name="connsiteY1" fmla="*/ 1 h 7480826"/>
              <a:gd name="connsiteX2" fmla="*/ 6804220 w 6813723"/>
              <a:gd name="connsiteY2" fmla="*/ 7480300 h 7480826"/>
              <a:gd name="connsiteX3" fmla="*/ 6627644 w 6813723"/>
              <a:gd name="connsiteY3" fmla="*/ 7479505 h 7480826"/>
              <a:gd name="connsiteX4" fmla="*/ 6621665 w 6813723"/>
              <a:gd name="connsiteY4" fmla="*/ 7109618 h 7480826"/>
              <a:gd name="connsiteX5" fmla="*/ 4913493 w 6813723"/>
              <a:gd name="connsiteY5" fmla="*/ 7112792 h 7480826"/>
              <a:gd name="connsiteX6" fmla="*/ 4914443 w 6813723"/>
              <a:gd name="connsiteY6" fmla="*/ 7478870 h 7480826"/>
              <a:gd name="connsiteX7" fmla="*/ 3266 w 6813723"/>
              <a:gd name="connsiteY7" fmla="*/ 7469188 h 7480826"/>
              <a:gd name="connsiteX8" fmla="*/ 8017 w 6813723"/>
              <a:gd name="connsiteY8" fmla="*/ 0 h 7480826"/>
              <a:gd name="connsiteX0" fmla="*/ 8017 w 6813723"/>
              <a:gd name="connsiteY0" fmla="*/ 0 h 7480826"/>
              <a:gd name="connsiteX1" fmla="*/ 6813723 w 6813723"/>
              <a:gd name="connsiteY1" fmla="*/ 1 h 7480826"/>
              <a:gd name="connsiteX2" fmla="*/ 6804220 w 6813723"/>
              <a:gd name="connsiteY2" fmla="*/ 7480300 h 7480826"/>
              <a:gd name="connsiteX3" fmla="*/ 6627644 w 6813723"/>
              <a:gd name="connsiteY3" fmla="*/ 7479505 h 7480826"/>
              <a:gd name="connsiteX4" fmla="*/ 6624833 w 6813723"/>
              <a:gd name="connsiteY4" fmla="*/ 7112793 h 7480826"/>
              <a:gd name="connsiteX5" fmla="*/ 4913493 w 6813723"/>
              <a:gd name="connsiteY5" fmla="*/ 7112792 h 7480826"/>
              <a:gd name="connsiteX6" fmla="*/ 4914443 w 6813723"/>
              <a:gd name="connsiteY6" fmla="*/ 7478870 h 7480826"/>
              <a:gd name="connsiteX7" fmla="*/ 3266 w 6813723"/>
              <a:gd name="connsiteY7" fmla="*/ 7469188 h 7480826"/>
              <a:gd name="connsiteX8" fmla="*/ 8017 w 6813723"/>
              <a:gd name="connsiteY8" fmla="*/ 0 h 7480826"/>
              <a:gd name="connsiteX0" fmla="*/ 28503 w 6834209"/>
              <a:gd name="connsiteY0" fmla="*/ 0 h 7485063"/>
              <a:gd name="connsiteX1" fmla="*/ 6834209 w 6834209"/>
              <a:gd name="connsiteY1" fmla="*/ 1 h 7485063"/>
              <a:gd name="connsiteX2" fmla="*/ 6824706 w 6834209"/>
              <a:gd name="connsiteY2" fmla="*/ 7480300 h 7485063"/>
              <a:gd name="connsiteX3" fmla="*/ 6648130 w 6834209"/>
              <a:gd name="connsiteY3" fmla="*/ 7479505 h 7485063"/>
              <a:gd name="connsiteX4" fmla="*/ 6645319 w 6834209"/>
              <a:gd name="connsiteY4" fmla="*/ 7112793 h 7485063"/>
              <a:gd name="connsiteX5" fmla="*/ 4933979 w 6834209"/>
              <a:gd name="connsiteY5" fmla="*/ 7112792 h 7485063"/>
              <a:gd name="connsiteX6" fmla="*/ 4934929 w 6834209"/>
              <a:gd name="connsiteY6" fmla="*/ 7478870 h 7485063"/>
              <a:gd name="connsiteX7" fmla="*/ 1581 w 6834209"/>
              <a:gd name="connsiteY7" fmla="*/ 7485063 h 7485063"/>
              <a:gd name="connsiteX8" fmla="*/ 28503 w 6834209"/>
              <a:gd name="connsiteY8" fmla="*/ 0 h 7485063"/>
              <a:gd name="connsiteX0" fmla="*/ 5431 w 6836476"/>
              <a:gd name="connsiteY0" fmla="*/ 0 h 7491413"/>
              <a:gd name="connsiteX1" fmla="*/ 6836476 w 6836476"/>
              <a:gd name="connsiteY1" fmla="*/ 6351 h 7491413"/>
              <a:gd name="connsiteX2" fmla="*/ 6826973 w 6836476"/>
              <a:gd name="connsiteY2" fmla="*/ 7486650 h 7491413"/>
              <a:gd name="connsiteX3" fmla="*/ 6650397 w 6836476"/>
              <a:gd name="connsiteY3" fmla="*/ 7485855 h 7491413"/>
              <a:gd name="connsiteX4" fmla="*/ 6647586 w 6836476"/>
              <a:gd name="connsiteY4" fmla="*/ 7119143 h 7491413"/>
              <a:gd name="connsiteX5" fmla="*/ 4936246 w 6836476"/>
              <a:gd name="connsiteY5" fmla="*/ 7119142 h 7491413"/>
              <a:gd name="connsiteX6" fmla="*/ 4937196 w 6836476"/>
              <a:gd name="connsiteY6" fmla="*/ 7485220 h 7491413"/>
              <a:gd name="connsiteX7" fmla="*/ 3848 w 6836476"/>
              <a:gd name="connsiteY7" fmla="*/ 7491413 h 7491413"/>
              <a:gd name="connsiteX8" fmla="*/ 5431 w 6836476"/>
              <a:gd name="connsiteY8" fmla="*/ 0 h 7491413"/>
              <a:gd name="connsiteX0" fmla="*/ 5431 w 6836476"/>
              <a:gd name="connsiteY0" fmla="*/ 0 h 7488238"/>
              <a:gd name="connsiteX1" fmla="*/ 6836476 w 6836476"/>
              <a:gd name="connsiteY1" fmla="*/ 3176 h 7488238"/>
              <a:gd name="connsiteX2" fmla="*/ 6826973 w 6836476"/>
              <a:gd name="connsiteY2" fmla="*/ 7483475 h 7488238"/>
              <a:gd name="connsiteX3" fmla="*/ 6650397 w 6836476"/>
              <a:gd name="connsiteY3" fmla="*/ 7482680 h 7488238"/>
              <a:gd name="connsiteX4" fmla="*/ 6647586 w 6836476"/>
              <a:gd name="connsiteY4" fmla="*/ 7115968 h 7488238"/>
              <a:gd name="connsiteX5" fmla="*/ 4936246 w 6836476"/>
              <a:gd name="connsiteY5" fmla="*/ 7115967 h 7488238"/>
              <a:gd name="connsiteX6" fmla="*/ 4937196 w 6836476"/>
              <a:gd name="connsiteY6" fmla="*/ 7482045 h 7488238"/>
              <a:gd name="connsiteX7" fmla="*/ 3848 w 6836476"/>
              <a:gd name="connsiteY7" fmla="*/ 7488238 h 7488238"/>
              <a:gd name="connsiteX8" fmla="*/ 5431 w 6836476"/>
              <a:gd name="connsiteY8" fmla="*/ 0 h 7488238"/>
              <a:gd name="connsiteX0" fmla="*/ 5431 w 6827582"/>
              <a:gd name="connsiteY0" fmla="*/ 0 h 7488238"/>
              <a:gd name="connsiteX1" fmla="*/ 6826974 w 6827582"/>
              <a:gd name="connsiteY1" fmla="*/ 3176 h 7488238"/>
              <a:gd name="connsiteX2" fmla="*/ 6826973 w 6827582"/>
              <a:gd name="connsiteY2" fmla="*/ 7483475 h 7488238"/>
              <a:gd name="connsiteX3" fmla="*/ 6650397 w 6827582"/>
              <a:gd name="connsiteY3" fmla="*/ 7482680 h 7488238"/>
              <a:gd name="connsiteX4" fmla="*/ 6647586 w 6827582"/>
              <a:gd name="connsiteY4" fmla="*/ 7115968 h 7488238"/>
              <a:gd name="connsiteX5" fmla="*/ 4936246 w 6827582"/>
              <a:gd name="connsiteY5" fmla="*/ 7115967 h 7488238"/>
              <a:gd name="connsiteX6" fmla="*/ 4937196 w 6827582"/>
              <a:gd name="connsiteY6" fmla="*/ 7482045 h 7488238"/>
              <a:gd name="connsiteX7" fmla="*/ 3848 w 6827582"/>
              <a:gd name="connsiteY7" fmla="*/ 7488238 h 7488238"/>
              <a:gd name="connsiteX8" fmla="*/ 5431 w 6827582"/>
              <a:gd name="connsiteY8" fmla="*/ 0 h 7488238"/>
              <a:gd name="connsiteX0" fmla="*/ 5431 w 6827582"/>
              <a:gd name="connsiteY0" fmla="*/ 0 h 7488238"/>
              <a:gd name="connsiteX1" fmla="*/ 6826974 w 6827582"/>
              <a:gd name="connsiteY1" fmla="*/ 3176 h 7488238"/>
              <a:gd name="connsiteX2" fmla="*/ 6826973 w 6827582"/>
              <a:gd name="connsiteY2" fmla="*/ 7486650 h 7488238"/>
              <a:gd name="connsiteX3" fmla="*/ 6650397 w 6827582"/>
              <a:gd name="connsiteY3" fmla="*/ 7482680 h 7488238"/>
              <a:gd name="connsiteX4" fmla="*/ 6647586 w 6827582"/>
              <a:gd name="connsiteY4" fmla="*/ 7115968 h 7488238"/>
              <a:gd name="connsiteX5" fmla="*/ 4936246 w 6827582"/>
              <a:gd name="connsiteY5" fmla="*/ 7115967 h 7488238"/>
              <a:gd name="connsiteX6" fmla="*/ 4937196 w 6827582"/>
              <a:gd name="connsiteY6" fmla="*/ 7482045 h 7488238"/>
              <a:gd name="connsiteX7" fmla="*/ 3848 w 6827582"/>
              <a:gd name="connsiteY7" fmla="*/ 7488238 h 7488238"/>
              <a:gd name="connsiteX8" fmla="*/ 5431 w 6827582"/>
              <a:gd name="connsiteY8" fmla="*/ 0 h 7488238"/>
              <a:gd name="connsiteX0" fmla="*/ 5431 w 6826974"/>
              <a:gd name="connsiteY0" fmla="*/ 0 h 7488238"/>
              <a:gd name="connsiteX1" fmla="*/ 6826974 w 6826974"/>
              <a:gd name="connsiteY1" fmla="*/ 3176 h 7488238"/>
              <a:gd name="connsiteX2" fmla="*/ 6826973 w 6826974"/>
              <a:gd name="connsiteY2" fmla="*/ 7486650 h 7488238"/>
              <a:gd name="connsiteX3" fmla="*/ 6650397 w 6826974"/>
              <a:gd name="connsiteY3" fmla="*/ 7482680 h 7488238"/>
              <a:gd name="connsiteX4" fmla="*/ 6647586 w 6826974"/>
              <a:gd name="connsiteY4" fmla="*/ 7115968 h 7488238"/>
              <a:gd name="connsiteX5" fmla="*/ 4936246 w 6826974"/>
              <a:gd name="connsiteY5" fmla="*/ 7115967 h 7488238"/>
              <a:gd name="connsiteX6" fmla="*/ 4937196 w 6826974"/>
              <a:gd name="connsiteY6" fmla="*/ 7482045 h 7488238"/>
              <a:gd name="connsiteX7" fmla="*/ 3848 w 6826974"/>
              <a:gd name="connsiteY7" fmla="*/ 7488238 h 7488238"/>
              <a:gd name="connsiteX8" fmla="*/ 5431 w 6826974"/>
              <a:gd name="connsiteY8" fmla="*/ 0 h 7488238"/>
              <a:gd name="connsiteX0" fmla="*/ 5431 w 6826974"/>
              <a:gd name="connsiteY0" fmla="*/ 0 h 7488238"/>
              <a:gd name="connsiteX1" fmla="*/ 6826974 w 6826974"/>
              <a:gd name="connsiteY1" fmla="*/ 3176 h 7488238"/>
              <a:gd name="connsiteX2" fmla="*/ 6826973 w 6826974"/>
              <a:gd name="connsiteY2" fmla="*/ 7486650 h 7488238"/>
              <a:gd name="connsiteX3" fmla="*/ 6650397 w 6826974"/>
              <a:gd name="connsiteY3" fmla="*/ 7482680 h 7488238"/>
              <a:gd name="connsiteX4" fmla="*/ 6647586 w 6826974"/>
              <a:gd name="connsiteY4" fmla="*/ 7115968 h 7488238"/>
              <a:gd name="connsiteX5" fmla="*/ 4936246 w 6826974"/>
              <a:gd name="connsiteY5" fmla="*/ 7115967 h 7488238"/>
              <a:gd name="connsiteX6" fmla="*/ 4937196 w 6826974"/>
              <a:gd name="connsiteY6" fmla="*/ 7482045 h 7488238"/>
              <a:gd name="connsiteX7" fmla="*/ 3848 w 6826974"/>
              <a:gd name="connsiteY7" fmla="*/ 7488238 h 7488238"/>
              <a:gd name="connsiteX8" fmla="*/ 5431 w 6826974"/>
              <a:gd name="connsiteY8" fmla="*/ 0 h 7488238"/>
              <a:gd name="connsiteX0" fmla="*/ 4902 w 6826445"/>
              <a:gd name="connsiteY0" fmla="*/ 0 h 7488238"/>
              <a:gd name="connsiteX1" fmla="*/ 6826445 w 6826445"/>
              <a:gd name="connsiteY1" fmla="*/ 3176 h 7488238"/>
              <a:gd name="connsiteX2" fmla="*/ 6826444 w 6826445"/>
              <a:gd name="connsiteY2" fmla="*/ 7486650 h 7488238"/>
              <a:gd name="connsiteX3" fmla="*/ 6649868 w 6826445"/>
              <a:gd name="connsiteY3" fmla="*/ 7482680 h 7488238"/>
              <a:gd name="connsiteX4" fmla="*/ 6647057 w 6826445"/>
              <a:gd name="connsiteY4" fmla="*/ 7115968 h 7488238"/>
              <a:gd name="connsiteX5" fmla="*/ 4935717 w 6826445"/>
              <a:gd name="connsiteY5" fmla="*/ 7115967 h 7488238"/>
              <a:gd name="connsiteX6" fmla="*/ 4936667 w 6826445"/>
              <a:gd name="connsiteY6" fmla="*/ 7482045 h 7488238"/>
              <a:gd name="connsiteX7" fmla="*/ 3319 w 6826445"/>
              <a:gd name="connsiteY7" fmla="*/ 7488238 h 7488238"/>
              <a:gd name="connsiteX8" fmla="*/ 4902 w 6826445"/>
              <a:gd name="connsiteY8" fmla="*/ 0 h 7488238"/>
              <a:gd name="connsiteX0" fmla="*/ 2357 w 6823900"/>
              <a:gd name="connsiteY0" fmla="*/ 0 h 7486650"/>
              <a:gd name="connsiteX1" fmla="*/ 6823900 w 6823900"/>
              <a:gd name="connsiteY1" fmla="*/ 3176 h 7486650"/>
              <a:gd name="connsiteX2" fmla="*/ 6823899 w 6823900"/>
              <a:gd name="connsiteY2" fmla="*/ 7486650 h 7486650"/>
              <a:gd name="connsiteX3" fmla="*/ 6647323 w 6823900"/>
              <a:gd name="connsiteY3" fmla="*/ 7482680 h 7486650"/>
              <a:gd name="connsiteX4" fmla="*/ 6644512 w 6823900"/>
              <a:gd name="connsiteY4" fmla="*/ 7115968 h 7486650"/>
              <a:gd name="connsiteX5" fmla="*/ 4933172 w 6823900"/>
              <a:gd name="connsiteY5" fmla="*/ 7115967 h 7486650"/>
              <a:gd name="connsiteX6" fmla="*/ 4934122 w 6823900"/>
              <a:gd name="connsiteY6" fmla="*/ 7482045 h 7486650"/>
              <a:gd name="connsiteX7" fmla="*/ 3941 w 6823900"/>
              <a:gd name="connsiteY7" fmla="*/ 7485063 h 7486650"/>
              <a:gd name="connsiteX8" fmla="*/ 2357 w 6823900"/>
              <a:gd name="connsiteY8" fmla="*/ 0 h 7486650"/>
              <a:gd name="connsiteX0" fmla="*/ 0 w 6821543"/>
              <a:gd name="connsiteY0" fmla="*/ 0 h 7486650"/>
              <a:gd name="connsiteX1" fmla="*/ 6821543 w 6821543"/>
              <a:gd name="connsiteY1" fmla="*/ 3176 h 7486650"/>
              <a:gd name="connsiteX2" fmla="*/ 6821542 w 6821543"/>
              <a:gd name="connsiteY2" fmla="*/ 7486650 h 7486650"/>
              <a:gd name="connsiteX3" fmla="*/ 6644966 w 6821543"/>
              <a:gd name="connsiteY3" fmla="*/ 7482680 h 7486650"/>
              <a:gd name="connsiteX4" fmla="*/ 6642155 w 6821543"/>
              <a:gd name="connsiteY4" fmla="*/ 7115968 h 7486650"/>
              <a:gd name="connsiteX5" fmla="*/ 4930815 w 6821543"/>
              <a:gd name="connsiteY5" fmla="*/ 7115967 h 7486650"/>
              <a:gd name="connsiteX6" fmla="*/ 4931765 w 6821543"/>
              <a:gd name="connsiteY6" fmla="*/ 7482045 h 7486650"/>
              <a:gd name="connsiteX7" fmla="*/ 1584 w 6821543"/>
              <a:gd name="connsiteY7" fmla="*/ 7485063 h 7486650"/>
              <a:gd name="connsiteX8" fmla="*/ 0 w 6821543"/>
              <a:gd name="connsiteY8" fmla="*/ 0 h 7486650"/>
              <a:gd name="connsiteX0" fmla="*/ 0 w 6821543"/>
              <a:gd name="connsiteY0" fmla="*/ 0 h 7486650"/>
              <a:gd name="connsiteX1" fmla="*/ 6821543 w 6821543"/>
              <a:gd name="connsiteY1" fmla="*/ 3176 h 7486650"/>
              <a:gd name="connsiteX2" fmla="*/ 6821542 w 6821543"/>
              <a:gd name="connsiteY2" fmla="*/ 7486650 h 7486650"/>
              <a:gd name="connsiteX3" fmla="*/ 6644966 w 6821543"/>
              <a:gd name="connsiteY3" fmla="*/ 7482680 h 7486650"/>
              <a:gd name="connsiteX4" fmla="*/ 6642155 w 6821543"/>
              <a:gd name="connsiteY4" fmla="*/ 7115968 h 7486650"/>
              <a:gd name="connsiteX5" fmla="*/ 4930815 w 6821543"/>
              <a:gd name="connsiteY5" fmla="*/ 7115967 h 7486650"/>
              <a:gd name="connsiteX6" fmla="*/ 4931765 w 6821543"/>
              <a:gd name="connsiteY6" fmla="*/ 7482045 h 7486650"/>
              <a:gd name="connsiteX7" fmla="*/ 1584 w 6821543"/>
              <a:gd name="connsiteY7" fmla="*/ 7485063 h 7486650"/>
              <a:gd name="connsiteX8" fmla="*/ 0 w 6821543"/>
              <a:gd name="connsiteY8" fmla="*/ 0 h 7486650"/>
              <a:gd name="connsiteX0" fmla="*/ 0 w 6821543"/>
              <a:gd name="connsiteY0" fmla="*/ 0 h 7486650"/>
              <a:gd name="connsiteX1" fmla="*/ 6821543 w 6821543"/>
              <a:gd name="connsiteY1" fmla="*/ 3176 h 7486650"/>
              <a:gd name="connsiteX2" fmla="*/ 6821542 w 6821543"/>
              <a:gd name="connsiteY2" fmla="*/ 7486650 h 7486650"/>
              <a:gd name="connsiteX3" fmla="*/ 6644966 w 6821543"/>
              <a:gd name="connsiteY3" fmla="*/ 7482680 h 7486650"/>
              <a:gd name="connsiteX4" fmla="*/ 6642155 w 6821543"/>
              <a:gd name="connsiteY4" fmla="*/ 7115968 h 7486650"/>
              <a:gd name="connsiteX5" fmla="*/ 4930815 w 6821543"/>
              <a:gd name="connsiteY5" fmla="*/ 7115967 h 7486650"/>
              <a:gd name="connsiteX6" fmla="*/ 4931765 w 6821543"/>
              <a:gd name="connsiteY6" fmla="*/ 7482045 h 7486650"/>
              <a:gd name="connsiteX7" fmla="*/ 1584 w 6821543"/>
              <a:gd name="connsiteY7" fmla="*/ 7485063 h 7486650"/>
              <a:gd name="connsiteX8" fmla="*/ 0 w 6821543"/>
              <a:gd name="connsiteY8" fmla="*/ 0 h 7486650"/>
              <a:gd name="connsiteX0" fmla="*/ 0 w 6821543"/>
              <a:gd name="connsiteY0" fmla="*/ 0 h 7486650"/>
              <a:gd name="connsiteX1" fmla="*/ 6821543 w 6821543"/>
              <a:gd name="connsiteY1" fmla="*/ 3176 h 7486650"/>
              <a:gd name="connsiteX2" fmla="*/ 6821542 w 6821543"/>
              <a:gd name="connsiteY2" fmla="*/ 7486650 h 7486650"/>
              <a:gd name="connsiteX3" fmla="*/ 6644966 w 6821543"/>
              <a:gd name="connsiteY3" fmla="*/ 7482680 h 7486650"/>
              <a:gd name="connsiteX4" fmla="*/ 6642155 w 6821543"/>
              <a:gd name="connsiteY4" fmla="*/ 7115968 h 7486650"/>
              <a:gd name="connsiteX5" fmla="*/ 4930815 w 6821543"/>
              <a:gd name="connsiteY5" fmla="*/ 7115967 h 7486650"/>
              <a:gd name="connsiteX6" fmla="*/ 4931765 w 6821543"/>
              <a:gd name="connsiteY6" fmla="*/ 7482045 h 7486650"/>
              <a:gd name="connsiteX7" fmla="*/ 1584 w 6821543"/>
              <a:gd name="connsiteY7" fmla="*/ 7485063 h 7486650"/>
              <a:gd name="connsiteX8" fmla="*/ 0 w 6821543"/>
              <a:gd name="connsiteY8" fmla="*/ 0 h 7486650"/>
              <a:gd name="connsiteX0" fmla="*/ 0 w 6821543"/>
              <a:gd name="connsiteY0" fmla="*/ 0 h 7486650"/>
              <a:gd name="connsiteX1" fmla="*/ 6821543 w 6821543"/>
              <a:gd name="connsiteY1" fmla="*/ 3176 h 7486650"/>
              <a:gd name="connsiteX2" fmla="*/ 6821542 w 6821543"/>
              <a:gd name="connsiteY2" fmla="*/ 7486650 h 7486650"/>
              <a:gd name="connsiteX3" fmla="*/ 6644966 w 6821543"/>
              <a:gd name="connsiteY3" fmla="*/ 7482680 h 7486650"/>
              <a:gd name="connsiteX4" fmla="*/ 6642155 w 6821543"/>
              <a:gd name="connsiteY4" fmla="*/ 7115968 h 7486650"/>
              <a:gd name="connsiteX5" fmla="*/ 4930815 w 6821543"/>
              <a:gd name="connsiteY5" fmla="*/ 7115967 h 7486650"/>
              <a:gd name="connsiteX6" fmla="*/ 4931765 w 6821543"/>
              <a:gd name="connsiteY6" fmla="*/ 7482045 h 7486650"/>
              <a:gd name="connsiteX7" fmla="*/ 1584 w 6821543"/>
              <a:gd name="connsiteY7" fmla="*/ 7485063 h 7486650"/>
              <a:gd name="connsiteX8" fmla="*/ 0 w 6821543"/>
              <a:gd name="connsiteY8" fmla="*/ 0 h 7486650"/>
              <a:gd name="connsiteX0" fmla="*/ 0 w 6821543"/>
              <a:gd name="connsiteY0" fmla="*/ 0 h 7486650"/>
              <a:gd name="connsiteX1" fmla="*/ 6821543 w 6821543"/>
              <a:gd name="connsiteY1" fmla="*/ 3176 h 7486650"/>
              <a:gd name="connsiteX2" fmla="*/ 6821542 w 6821543"/>
              <a:gd name="connsiteY2" fmla="*/ 7486650 h 7486650"/>
              <a:gd name="connsiteX3" fmla="*/ 6644966 w 6821543"/>
              <a:gd name="connsiteY3" fmla="*/ 7482680 h 7486650"/>
              <a:gd name="connsiteX4" fmla="*/ 6642155 w 6821543"/>
              <a:gd name="connsiteY4" fmla="*/ 7115968 h 7486650"/>
              <a:gd name="connsiteX5" fmla="*/ 4930815 w 6821543"/>
              <a:gd name="connsiteY5" fmla="*/ 7115967 h 7486650"/>
              <a:gd name="connsiteX6" fmla="*/ 4931765 w 6821543"/>
              <a:gd name="connsiteY6" fmla="*/ 7482045 h 7486650"/>
              <a:gd name="connsiteX7" fmla="*/ 1584 w 6821543"/>
              <a:gd name="connsiteY7" fmla="*/ 7485063 h 7486650"/>
              <a:gd name="connsiteX8" fmla="*/ 0 w 6821543"/>
              <a:gd name="connsiteY8" fmla="*/ 0 h 7486650"/>
              <a:gd name="connsiteX0" fmla="*/ 0 w 6821543"/>
              <a:gd name="connsiteY0" fmla="*/ 0 h 7483475"/>
              <a:gd name="connsiteX1" fmla="*/ 6821543 w 6821543"/>
              <a:gd name="connsiteY1" fmla="*/ 1 h 7483475"/>
              <a:gd name="connsiteX2" fmla="*/ 6821542 w 6821543"/>
              <a:gd name="connsiteY2" fmla="*/ 7483475 h 7483475"/>
              <a:gd name="connsiteX3" fmla="*/ 6644966 w 6821543"/>
              <a:gd name="connsiteY3" fmla="*/ 7479505 h 7483475"/>
              <a:gd name="connsiteX4" fmla="*/ 6642155 w 6821543"/>
              <a:gd name="connsiteY4" fmla="*/ 7112793 h 7483475"/>
              <a:gd name="connsiteX5" fmla="*/ 4930815 w 6821543"/>
              <a:gd name="connsiteY5" fmla="*/ 7112792 h 7483475"/>
              <a:gd name="connsiteX6" fmla="*/ 4931765 w 6821543"/>
              <a:gd name="connsiteY6" fmla="*/ 7478870 h 7483475"/>
              <a:gd name="connsiteX7" fmla="*/ 1584 w 6821543"/>
              <a:gd name="connsiteY7" fmla="*/ 7481888 h 7483475"/>
              <a:gd name="connsiteX8" fmla="*/ 0 w 6821543"/>
              <a:gd name="connsiteY8" fmla="*/ 0 h 7483475"/>
              <a:gd name="connsiteX0" fmla="*/ 0 w 6821543"/>
              <a:gd name="connsiteY0" fmla="*/ 0 h 7483475"/>
              <a:gd name="connsiteX1" fmla="*/ 6821543 w 6821543"/>
              <a:gd name="connsiteY1" fmla="*/ 1 h 7483475"/>
              <a:gd name="connsiteX2" fmla="*/ 6821542 w 6821543"/>
              <a:gd name="connsiteY2" fmla="*/ 7483475 h 7483475"/>
              <a:gd name="connsiteX3" fmla="*/ 6644966 w 6821543"/>
              <a:gd name="connsiteY3" fmla="*/ 7479505 h 7483475"/>
              <a:gd name="connsiteX4" fmla="*/ 6642155 w 6821543"/>
              <a:gd name="connsiteY4" fmla="*/ 7112793 h 7483475"/>
              <a:gd name="connsiteX5" fmla="*/ 4930815 w 6821543"/>
              <a:gd name="connsiteY5" fmla="*/ 7112792 h 7483475"/>
              <a:gd name="connsiteX6" fmla="*/ 4931765 w 6821543"/>
              <a:gd name="connsiteY6" fmla="*/ 7478870 h 7483475"/>
              <a:gd name="connsiteX7" fmla="*/ 1584 w 6821543"/>
              <a:gd name="connsiteY7" fmla="*/ 7478713 h 7483475"/>
              <a:gd name="connsiteX8" fmla="*/ 0 w 6821543"/>
              <a:gd name="connsiteY8" fmla="*/ 0 h 7483475"/>
              <a:gd name="connsiteX0" fmla="*/ 0 w 6821543"/>
              <a:gd name="connsiteY0" fmla="*/ 0 h 7483475"/>
              <a:gd name="connsiteX1" fmla="*/ 6821543 w 6821543"/>
              <a:gd name="connsiteY1" fmla="*/ 1 h 7483475"/>
              <a:gd name="connsiteX2" fmla="*/ 6821542 w 6821543"/>
              <a:gd name="connsiteY2" fmla="*/ 7483475 h 7483475"/>
              <a:gd name="connsiteX3" fmla="*/ 6644966 w 6821543"/>
              <a:gd name="connsiteY3" fmla="*/ 7479505 h 7483475"/>
              <a:gd name="connsiteX4" fmla="*/ 6642155 w 6821543"/>
              <a:gd name="connsiteY4" fmla="*/ 7112793 h 7483475"/>
              <a:gd name="connsiteX5" fmla="*/ 4930815 w 6821543"/>
              <a:gd name="connsiteY5" fmla="*/ 7112792 h 7483475"/>
              <a:gd name="connsiteX6" fmla="*/ 4931766 w 6821543"/>
              <a:gd name="connsiteY6" fmla="*/ 7482045 h 7483475"/>
              <a:gd name="connsiteX7" fmla="*/ 1584 w 6821543"/>
              <a:gd name="connsiteY7" fmla="*/ 7478713 h 7483475"/>
              <a:gd name="connsiteX8" fmla="*/ 0 w 6821543"/>
              <a:gd name="connsiteY8" fmla="*/ 0 h 7483475"/>
              <a:gd name="connsiteX0" fmla="*/ 0 w 6821543"/>
              <a:gd name="connsiteY0" fmla="*/ 0 h 7483475"/>
              <a:gd name="connsiteX1" fmla="*/ 6821543 w 6821543"/>
              <a:gd name="connsiteY1" fmla="*/ 1 h 7483475"/>
              <a:gd name="connsiteX2" fmla="*/ 6821542 w 6821543"/>
              <a:gd name="connsiteY2" fmla="*/ 7483475 h 7483475"/>
              <a:gd name="connsiteX3" fmla="*/ 6644966 w 6821543"/>
              <a:gd name="connsiteY3" fmla="*/ 7479505 h 7483475"/>
              <a:gd name="connsiteX4" fmla="*/ 6642155 w 6821543"/>
              <a:gd name="connsiteY4" fmla="*/ 7112793 h 7483475"/>
              <a:gd name="connsiteX5" fmla="*/ 4930815 w 6821543"/>
              <a:gd name="connsiteY5" fmla="*/ 7112792 h 7483475"/>
              <a:gd name="connsiteX6" fmla="*/ 4931766 w 6821543"/>
              <a:gd name="connsiteY6" fmla="*/ 7482045 h 7483475"/>
              <a:gd name="connsiteX7" fmla="*/ 1584 w 6821543"/>
              <a:gd name="connsiteY7" fmla="*/ 7478713 h 7483475"/>
              <a:gd name="connsiteX8" fmla="*/ 0 w 6821543"/>
              <a:gd name="connsiteY8" fmla="*/ 0 h 7483475"/>
              <a:gd name="connsiteX0" fmla="*/ 0 w 6821543"/>
              <a:gd name="connsiteY0" fmla="*/ 0 h 7483475"/>
              <a:gd name="connsiteX1" fmla="*/ 6821543 w 6821543"/>
              <a:gd name="connsiteY1" fmla="*/ 1 h 7483475"/>
              <a:gd name="connsiteX2" fmla="*/ 6821542 w 6821543"/>
              <a:gd name="connsiteY2" fmla="*/ 7483475 h 7483475"/>
              <a:gd name="connsiteX3" fmla="*/ 6641799 w 6821543"/>
              <a:gd name="connsiteY3" fmla="*/ 7479505 h 7483475"/>
              <a:gd name="connsiteX4" fmla="*/ 6642155 w 6821543"/>
              <a:gd name="connsiteY4" fmla="*/ 7112793 h 7483475"/>
              <a:gd name="connsiteX5" fmla="*/ 4930815 w 6821543"/>
              <a:gd name="connsiteY5" fmla="*/ 7112792 h 7483475"/>
              <a:gd name="connsiteX6" fmla="*/ 4931766 w 6821543"/>
              <a:gd name="connsiteY6" fmla="*/ 7482045 h 7483475"/>
              <a:gd name="connsiteX7" fmla="*/ 1584 w 6821543"/>
              <a:gd name="connsiteY7" fmla="*/ 7478713 h 7483475"/>
              <a:gd name="connsiteX8" fmla="*/ 0 w 6821543"/>
              <a:gd name="connsiteY8" fmla="*/ 0 h 7483475"/>
              <a:gd name="connsiteX0" fmla="*/ 0 w 6821543"/>
              <a:gd name="connsiteY0" fmla="*/ 0 h 7483475"/>
              <a:gd name="connsiteX1" fmla="*/ 6821543 w 6821543"/>
              <a:gd name="connsiteY1" fmla="*/ 1 h 7483475"/>
              <a:gd name="connsiteX2" fmla="*/ 6821542 w 6821543"/>
              <a:gd name="connsiteY2" fmla="*/ 7483475 h 7483475"/>
              <a:gd name="connsiteX3" fmla="*/ 6641799 w 6821543"/>
              <a:gd name="connsiteY3" fmla="*/ 7479505 h 7483475"/>
              <a:gd name="connsiteX4" fmla="*/ 6642155 w 6821543"/>
              <a:gd name="connsiteY4" fmla="*/ 7112793 h 7483475"/>
              <a:gd name="connsiteX5" fmla="*/ 4930815 w 6821543"/>
              <a:gd name="connsiteY5" fmla="*/ 7112792 h 7483475"/>
              <a:gd name="connsiteX6" fmla="*/ 4931766 w 6821543"/>
              <a:gd name="connsiteY6" fmla="*/ 7482045 h 7483475"/>
              <a:gd name="connsiteX7" fmla="*/ 1584 w 6821543"/>
              <a:gd name="connsiteY7" fmla="*/ 7478713 h 7483475"/>
              <a:gd name="connsiteX8" fmla="*/ 0 w 6821543"/>
              <a:gd name="connsiteY8" fmla="*/ 0 h 7483475"/>
              <a:gd name="connsiteX0" fmla="*/ 0 w 6821543"/>
              <a:gd name="connsiteY0" fmla="*/ 0 h 7555705"/>
              <a:gd name="connsiteX1" fmla="*/ 6821543 w 6821543"/>
              <a:gd name="connsiteY1" fmla="*/ 1 h 7555705"/>
              <a:gd name="connsiteX2" fmla="*/ 6821542 w 6821543"/>
              <a:gd name="connsiteY2" fmla="*/ 7483475 h 7555705"/>
              <a:gd name="connsiteX3" fmla="*/ 6562617 w 6821543"/>
              <a:gd name="connsiteY3" fmla="*/ 7555705 h 7555705"/>
              <a:gd name="connsiteX4" fmla="*/ 6642155 w 6821543"/>
              <a:gd name="connsiteY4" fmla="*/ 7112793 h 7555705"/>
              <a:gd name="connsiteX5" fmla="*/ 4930815 w 6821543"/>
              <a:gd name="connsiteY5" fmla="*/ 7112792 h 7555705"/>
              <a:gd name="connsiteX6" fmla="*/ 4931766 w 6821543"/>
              <a:gd name="connsiteY6" fmla="*/ 7482045 h 7555705"/>
              <a:gd name="connsiteX7" fmla="*/ 1584 w 6821543"/>
              <a:gd name="connsiteY7" fmla="*/ 7478713 h 7555705"/>
              <a:gd name="connsiteX8" fmla="*/ 0 w 6821543"/>
              <a:gd name="connsiteY8" fmla="*/ 0 h 7555705"/>
              <a:gd name="connsiteX0" fmla="*/ 0 w 6821543"/>
              <a:gd name="connsiteY0" fmla="*/ 0 h 7555705"/>
              <a:gd name="connsiteX1" fmla="*/ 6821543 w 6821543"/>
              <a:gd name="connsiteY1" fmla="*/ 1 h 7555705"/>
              <a:gd name="connsiteX2" fmla="*/ 6821542 w 6821543"/>
              <a:gd name="connsiteY2" fmla="*/ 7483475 h 7555705"/>
              <a:gd name="connsiteX3" fmla="*/ 6562617 w 6821543"/>
              <a:gd name="connsiteY3" fmla="*/ 7555705 h 7555705"/>
              <a:gd name="connsiteX4" fmla="*/ 6642155 w 6821543"/>
              <a:gd name="connsiteY4" fmla="*/ 7112793 h 7555705"/>
              <a:gd name="connsiteX5" fmla="*/ 4930815 w 6821543"/>
              <a:gd name="connsiteY5" fmla="*/ 7112792 h 7555705"/>
              <a:gd name="connsiteX6" fmla="*/ 4931766 w 6821543"/>
              <a:gd name="connsiteY6" fmla="*/ 7482045 h 7555705"/>
              <a:gd name="connsiteX7" fmla="*/ 1584 w 6821543"/>
              <a:gd name="connsiteY7" fmla="*/ 7478713 h 7555705"/>
              <a:gd name="connsiteX8" fmla="*/ 0 w 6821543"/>
              <a:gd name="connsiteY8" fmla="*/ 0 h 7555705"/>
              <a:gd name="connsiteX0" fmla="*/ 0 w 6821543"/>
              <a:gd name="connsiteY0" fmla="*/ 0 h 7483475"/>
              <a:gd name="connsiteX1" fmla="*/ 6821543 w 6821543"/>
              <a:gd name="connsiteY1" fmla="*/ 1 h 7483475"/>
              <a:gd name="connsiteX2" fmla="*/ 6821542 w 6821543"/>
              <a:gd name="connsiteY2" fmla="*/ 7483475 h 7483475"/>
              <a:gd name="connsiteX3" fmla="*/ 6644967 w 6821543"/>
              <a:gd name="connsiteY3" fmla="*/ 7482680 h 7483475"/>
              <a:gd name="connsiteX4" fmla="*/ 6642155 w 6821543"/>
              <a:gd name="connsiteY4" fmla="*/ 7112793 h 7483475"/>
              <a:gd name="connsiteX5" fmla="*/ 4930815 w 6821543"/>
              <a:gd name="connsiteY5" fmla="*/ 7112792 h 7483475"/>
              <a:gd name="connsiteX6" fmla="*/ 4931766 w 6821543"/>
              <a:gd name="connsiteY6" fmla="*/ 7482045 h 7483475"/>
              <a:gd name="connsiteX7" fmla="*/ 1584 w 6821543"/>
              <a:gd name="connsiteY7" fmla="*/ 7478713 h 7483475"/>
              <a:gd name="connsiteX8" fmla="*/ 0 w 6821543"/>
              <a:gd name="connsiteY8" fmla="*/ 0 h 7483475"/>
              <a:gd name="connsiteX0" fmla="*/ 0 w 6821543"/>
              <a:gd name="connsiteY0" fmla="*/ 0 h 7483475"/>
              <a:gd name="connsiteX1" fmla="*/ 6821543 w 6821543"/>
              <a:gd name="connsiteY1" fmla="*/ 1 h 7483475"/>
              <a:gd name="connsiteX2" fmla="*/ 6821542 w 6821543"/>
              <a:gd name="connsiteY2" fmla="*/ 7483475 h 7483475"/>
              <a:gd name="connsiteX3" fmla="*/ 6644967 w 6821543"/>
              <a:gd name="connsiteY3" fmla="*/ 7482680 h 7483475"/>
              <a:gd name="connsiteX4" fmla="*/ 6642155 w 6821543"/>
              <a:gd name="connsiteY4" fmla="*/ 7112793 h 7483475"/>
              <a:gd name="connsiteX5" fmla="*/ 4930815 w 6821543"/>
              <a:gd name="connsiteY5" fmla="*/ 7112792 h 7483475"/>
              <a:gd name="connsiteX6" fmla="*/ 4931766 w 6821543"/>
              <a:gd name="connsiteY6" fmla="*/ 7482045 h 7483475"/>
              <a:gd name="connsiteX7" fmla="*/ 1584 w 6821543"/>
              <a:gd name="connsiteY7" fmla="*/ 7478713 h 7483475"/>
              <a:gd name="connsiteX8" fmla="*/ 0 w 6821543"/>
              <a:gd name="connsiteY8" fmla="*/ 0 h 7483475"/>
              <a:gd name="connsiteX0" fmla="*/ 0 w 6821543"/>
              <a:gd name="connsiteY0" fmla="*/ 0 h 7488395"/>
              <a:gd name="connsiteX1" fmla="*/ 6821543 w 6821543"/>
              <a:gd name="connsiteY1" fmla="*/ 1 h 7488395"/>
              <a:gd name="connsiteX2" fmla="*/ 6821542 w 6821543"/>
              <a:gd name="connsiteY2" fmla="*/ 7483475 h 7488395"/>
              <a:gd name="connsiteX3" fmla="*/ 6644967 w 6821543"/>
              <a:gd name="connsiteY3" fmla="*/ 7482680 h 7488395"/>
              <a:gd name="connsiteX4" fmla="*/ 6642155 w 6821543"/>
              <a:gd name="connsiteY4" fmla="*/ 7112793 h 7488395"/>
              <a:gd name="connsiteX5" fmla="*/ 4930815 w 6821543"/>
              <a:gd name="connsiteY5" fmla="*/ 7112792 h 7488395"/>
              <a:gd name="connsiteX6" fmla="*/ 4697387 w 6821543"/>
              <a:gd name="connsiteY6" fmla="*/ 7488395 h 7488395"/>
              <a:gd name="connsiteX7" fmla="*/ 1584 w 6821543"/>
              <a:gd name="connsiteY7" fmla="*/ 7478713 h 7488395"/>
              <a:gd name="connsiteX8" fmla="*/ 0 w 6821543"/>
              <a:gd name="connsiteY8" fmla="*/ 0 h 7488395"/>
              <a:gd name="connsiteX0" fmla="*/ 0 w 6821543"/>
              <a:gd name="connsiteY0" fmla="*/ 0 h 7488395"/>
              <a:gd name="connsiteX1" fmla="*/ 6821543 w 6821543"/>
              <a:gd name="connsiteY1" fmla="*/ 1 h 7488395"/>
              <a:gd name="connsiteX2" fmla="*/ 6821542 w 6821543"/>
              <a:gd name="connsiteY2" fmla="*/ 7483475 h 7488395"/>
              <a:gd name="connsiteX3" fmla="*/ 6644967 w 6821543"/>
              <a:gd name="connsiteY3" fmla="*/ 7482680 h 7488395"/>
              <a:gd name="connsiteX4" fmla="*/ 6642155 w 6821543"/>
              <a:gd name="connsiteY4" fmla="*/ 7112793 h 7488395"/>
              <a:gd name="connsiteX5" fmla="*/ 4702771 w 6821543"/>
              <a:gd name="connsiteY5" fmla="*/ 7061992 h 7488395"/>
              <a:gd name="connsiteX6" fmla="*/ 4697387 w 6821543"/>
              <a:gd name="connsiteY6" fmla="*/ 7488395 h 7488395"/>
              <a:gd name="connsiteX7" fmla="*/ 1584 w 6821543"/>
              <a:gd name="connsiteY7" fmla="*/ 7478713 h 7488395"/>
              <a:gd name="connsiteX8" fmla="*/ 0 w 6821543"/>
              <a:gd name="connsiteY8" fmla="*/ 0 h 7488395"/>
              <a:gd name="connsiteX0" fmla="*/ 0 w 6821543"/>
              <a:gd name="connsiteY0" fmla="*/ 0 h 7488395"/>
              <a:gd name="connsiteX1" fmla="*/ 6821543 w 6821543"/>
              <a:gd name="connsiteY1" fmla="*/ 1 h 7488395"/>
              <a:gd name="connsiteX2" fmla="*/ 6821542 w 6821543"/>
              <a:gd name="connsiteY2" fmla="*/ 7483475 h 7488395"/>
              <a:gd name="connsiteX3" fmla="*/ 6644967 w 6821543"/>
              <a:gd name="connsiteY3" fmla="*/ 7482680 h 7488395"/>
              <a:gd name="connsiteX4" fmla="*/ 6667494 w 6821543"/>
              <a:gd name="connsiteY4" fmla="*/ 7068343 h 7488395"/>
              <a:gd name="connsiteX5" fmla="*/ 4702771 w 6821543"/>
              <a:gd name="connsiteY5" fmla="*/ 7061992 h 7488395"/>
              <a:gd name="connsiteX6" fmla="*/ 4697387 w 6821543"/>
              <a:gd name="connsiteY6" fmla="*/ 7488395 h 7488395"/>
              <a:gd name="connsiteX7" fmla="*/ 1584 w 6821543"/>
              <a:gd name="connsiteY7" fmla="*/ 7478713 h 7488395"/>
              <a:gd name="connsiteX8" fmla="*/ 0 w 6821543"/>
              <a:gd name="connsiteY8" fmla="*/ 0 h 7488395"/>
              <a:gd name="connsiteX0" fmla="*/ 0 w 6821543"/>
              <a:gd name="connsiteY0" fmla="*/ 0 h 7495380"/>
              <a:gd name="connsiteX1" fmla="*/ 6821543 w 6821543"/>
              <a:gd name="connsiteY1" fmla="*/ 1 h 7495380"/>
              <a:gd name="connsiteX2" fmla="*/ 6821542 w 6821543"/>
              <a:gd name="connsiteY2" fmla="*/ 7483475 h 7495380"/>
              <a:gd name="connsiteX3" fmla="*/ 6663971 w 6821543"/>
              <a:gd name="connsiteY3" fmla="*/ 7495380 h 7495380"/>
              <a:gd name="connsiteX4" fmla="*/ 6667494 w 6821543"/>
              <a:gd name="connsiteY4" fmla="*/ 7068343 h 7495380"/>
              <a:gd name="connsiteX5" fmla="*/ 4702771 w 6821543"/>
              <a:gd name="connsiteY5" fmla="*/ 7061992 h 7495380"/>
              <a:gd name="connsiteX6" fmla="*/ 4697387 w 6821543"/>
              <a:gd name="connsiteY6" fmla="*/ 7488395 h 7495380"/>
              <a:gd name="connsiteX7" fmla="*/ 1584 w 6821543"/>
              <a:gd name="connsiteY7" fmla="*/ 7478713 h 7495380"/>
              <a:gd name="connsiteX8" fmla="*/ 0 w 6821543"/>
              <a:gd name="connsiteY8" fmla="*/ 0 h 7495380"/>
              <a:gd name="connsiteX0" fmla="*/ 0 w 6821543"/>
              <a:gd name="connsiteY0" fmla="*/ 0 h 7495380"/>
              <a:gd name="connsiteX1" fmla="*/ 6821543 w 6821543"/>
              <a:gd name="connsiteY1" fmla="*/ 1 h 7495380"/>
              <a:gd name="connsiteX2" fmla="*/ 6821542 w 6821543"/>
              <a:gd name="connsiteY2" fmla="*/ 7483475 h 7495380"/>
              <a:gd name="connsiteX3" fmla="*/ 6663971 w 6821543"/>
              <a:gd name="connsiteY3" fmla="*/ 7495380 h 7495380"/>
              <a:gd name="connsiteX4" fmla="*/ 6667494 w 6821543"/>
              <a:gd name="connsiteY4" fmla="*/ 7068343 h 7495380"/>
              <a:gd name="connsiteX5" fmla="*/ 4702771 w 6821543"/>
              <a:gd name="connsiteY5" fmla="*/ 7061992 h 7495380"/>
              <a:gd name="connsiteX6" fmla="*/ 4714016 w 6821543"/>
              <a:gd name="connsiteY6" fmla="*/ 7490776 h 7495380"/>
              <a:gd name="connsiteX7" fmla="*/ 1584 w 6821543"/>
              <a:gd name="connsiteY7" fmla="*/ 7478713 h 7495380"/>
              <a:gd name="connsiteX8" fmla="*/ 0 w 6821543"/>
              <a:gd name="connsiteY8" fmla="*/ 0 h 7495380"/>
              <a:gd name="connsiteX0" fmla="*/ 0 w 6821543"/>
              <a:gd name="connsiteY0" fmla="*/ 0 h 7495380"/>
              <a:gd name="connsiteX1" fmla="*/ 6821543 w 6821543"/>
              <a:gd name="connsiteY1" fmla="*/ 1 h 7495380"/>
              <a:gd name="connsiteX2" fmla="*/ 6821542 w 6821543"/>
              <a:gd name="connsiteY2" fmla="*/ 7483475 h 7495380"/>
              <a:gd name="connsiteX3" fmla="*/ 6663971 w 6821543"/>
              <a:gd name="connsiteY3" fmla="*/ 7495380 h 7495380"/>
              <a:gd name="connsiteX4" fmla="*/ 6667494 w 6821543"/>
              <a:gd name="connsiteY4" fmla="*/ 7068343 h 7495380"/>
              <a:gd name="connsiteX5" fmla="*/ 4709898 w 6821543"/>
              <a:gd name="connsiteY5" fmla="*/ 7061992 h 7495380"/>
              <a:gd name="connsiteX6" fmla="*/ 4714016 w 6821543"/>
              <a:gd name="connsiteY6" fmla="*/ 7490776 h 7495380"/>
              <a:gd name="connsiteX7" fmla="*/ 1584 w 6821543"/>
              <a:gd name="connsiteY7" fmla="*/ 7478713 h 7495380"/>
              <a:gd name="connsiteX8" fmla="*/ 0 w 6821543"/>
              <a:gd name="connsiteY8" fmla="*/ 0 h 7495380"/>
              <a:gd name="connsiteX0" fmla="*/ 0 w 6821543"/>
              <a:gd name="connsiteY0" fmla="*/ 0 h 7495380"/>
              <a:gd name="connsiteX1" fmla="*/ 6821543 w 6821543"/>
              <a:gd name="connsiteY1" fmla="*/ 1 h 7495380"/>
              <a:gd name="connsiteX2" fmla="*/ 6821542 w 6821543"/>
              <a:gd name="connsiteY2" fmla="*/ 7483475 h 7495380"/>
              <a:gd name="connsiteX3" fmla="*/ 6663971 w 6821543"/>
              <a:gd name="connsiteY3" fmla="*/ 7495380 h 7495380"/>
              <a:gd name="connsiteX4" fmla="*/ 6653242 w 6821543"/>
              <a:gd name="connsiteY4" fmla="*/ 7063581 h 7495380"/>
              <a:gd name="connsiteX5" fmla="*/ 4709898 w 6821543"/>
              <a:gd name="connsiteY5" fmla="*/ 7061992 h 7495380"/>
              <a:gd name="connsiteX6" fmla="*/ 4714016 w 6821543"/>
              <a:gd name="connsiteY6" fmla="*/ 7490776 h 7495380"/>
              <a:gd name="connsiteX7" fmla="*/ 1584 w 6821543"/>
              <a:gd name="connsiteY7" fmla="*/ 7478713 h 7495380"/>
              <a:gd name="connsiteX8" fmla="*/ 0 w 6821543"/>
              <a:gd name="connsiteY8" fmla="*/ 0 h 7495380"/>
              <a:gd name="connsiteX0" fmla="*/ 0 w 6823919"/>
              <a:gd name="connsiteY0" fmla="*/ 0 h 7495380"/>
              <a:gd name="connsiteX1" fmla="*/ 6821543 w 6823919"/>
              <a:gd name="connsiteY1" fmla="*/ 1 h 7495380"/>
              <a:gd name="connsiteX2" fmla="*/ 6823919 w 6823919"/>
              <a:gd name="connsiteY2" fmla="*/ 7490619 h 7495380"/>
              <a:gd name="connsiteX3" fmla="*/ 6663971 w 6823919"/>
              <a:gd name="connsiteY3" fmla="*/ 7495380 h 7495380"/>
              <a:gd name="connsiteX4" fmla="*/ 6653242 w 6823919"/>
              <a:gd name="connsiteY4" fmla="*/ 7063581 h 7495380"/>
              <a:gd name="connsiteX5" fmla="*/ 4709898 w 6823919"/>
              <a:gd name="connsiteY5" fmla="*/ 7061992 h 7495380"/>
              <a:gd name="connsiteX6" fmla="*/ 4714016 w 6823919"/>
              <a:gd name="connsiteY6" fmla="*/ 7490776 h 7495380"/>
              <a:gd name="connsiteX7" fmla="*/ 1584 w 6823919"/>
              <a:gd name="connsiteY7" fmla="*/ 7478713 h 7495380"/>
              <a:gd name="connsiteX8" fmla="*/ 0 w 6823919"/>
              <a:gd name="connsiteY8" fmla="*/ 0 h 7495380"/>
              <a:gd name="connsiteX0" fmla="*/ 0 w 6823919"/>
              <a:gd name="connsiteY0" fmla="*/ 0 h 7495660"/>
              <a:gd name="connsiteX1" fmla="*/ 6821543 w 6823919"/>
              <a:gd name="connsiteY1" fmla="*/ 1 h 7495660"/>
              <a:gd name="connsiteX2" fmla="*/ 6823919 w 6823919"/>
              <a:gd name="connsiteY2" fmla="*/ 7490619 h 7495660"/>
              <a:gd name="connsiteX3" fmla="*/ 6663971 w 6823919"/>
              <a:gd name="connsiteY3" fmla="*/ 7495380 h 7495660"/>
              <a:gd name="connsiteX4" fmla="*/ 6653242 w 6823919"/>
              <a:gd name="connsiteY4" fmla="*/ 7063581 h 7495660"/>
              <a:gd name="connsiteX5" fmla="*/ 4709898 w 6823919"/>
              <a:gd name="connsiteY5" fmla="*/ 7061992 h 7495660"/>
              <a:gd name="connsiteX6" fmla="*/ 4749649 w 6823919"/>
              <a:gd name="connsiteY6" fmla="*/ 7495660 h 7495660"/>
              <a:gd name="connsiteX7" fmla="*/ 1584 w 6823919"/>
              <a:gd name="connsiteY7" fmla="*/ 7478713 h 7495660"/>
              <a:gd name="connsiteX8" fmla="*/ 0 w 6823919"/>
              <a:gd name="connsiteY8" fmla="*/ 0 h 7495660"/>
              <a:gd name="connsiteX0" fmla="*/ 0 w 6823919"/>
              <a:gd name="connsiteY0" fmla="*/ 0 h 7495660"/>
              <a:gd name="connsiteX1" fmla="*/ 6821543 w 6823919"/>
              <a:gd name="connsiteY1" fmla="*/ 1 h 7495660"/>
              <a:gd name="connsiteX2" fmla="*/ 6823919 w 6823919"/>
              <a:gd name="connsiteY2" fmla="*/ 7490619 h 7495660"/>
              <a:gd name="connsiteX3" fmla="*/ 6663971 w 6823919"/>
              <a:gd name="connsiteY3" fmla="*/ 7495380 h 7495660"/>
              <a:gd name="connsiteX4" fmla="*/ 6653242 w 6823919"/>
              <a:gd name="connsiteY4" fmla="*/ 7063581 h 7495660"/>
              <a:gd name="connsiteX5" fmla="*/ 4757408 w 6823919"/>
              <a:gd name="connsiteY5" fmla="*/ 6776276 h 7495660"/>
              <a:gd name="connsiteX6" fmla="*/ 4749649 w 6823919"/>
              <a:gd name="connsiteY6" fmla="*/ 7495660 h 7495660"/>
              <a:gd name="connsiteX7" fmla="*/ 1584 w 6823919"/>
              <a:gd name="connsiteY7" fmla="*/ 7478713 h 7495660"/>
              <a:gd name="connsiteX8" fmla="*/ 0 w 6823919"/>
              <a:gd name="connsiteY8" fmla="*/ 0 h 7495660"/>
              <a:gd name="connsiteX0" fmla="*/ 0 w 6823919"/>
              <a:gd name="connsiteY0" fmla="*/ 0 h 7495660"/>
              <a:gd name="connsiteX1" fmla="*/ 6821543 w 6823919"/>
              <a:gd name="connsiteY1" fmla="*/ 1 h 7495660"/>
              <a:gd name="connsiteX2" fmla="*/ 6823919 w 6823919"/>
              <a:gd name="connsiteY2" fmla="*/ 7490619 h 7495660"/>
              <a:gd name="connsiteX3" fmla="*/ 6663971 w 6823919"/>
              <a:gd name="connsiteY3" fmla="*/ 7495380 h 7495660"/>
              <a:gd name="connsiteX4" fmla="*/ 6655618 w 6823919"/>
              <a:gd name="connsiteY4" fmla="*/ 6775422 h 7495660"/>
              <a:gd name="connsiteX5" fmla="*/ 4757408 w 6823919"/>
              <a:gd name="connsiteY5" fmla="*/ 6776276 h 7495660"/>
              <a:gd name="connsiteX6" fmla="*/ 4749649 w 6823919"/>
              <a:gd name="connsiteY6" fmla="*/ 7495660 h 7495660"/>
              <a:gd name="connsiteX7" fmla="*/ 1584 w 6823919"/>
              <a:gd name="connsiteY7" fmla="*/ 7478713 h 7495660"/>
              <a:gd name="connsiteX8" fmla="*/ 0 w 6823919"/>
              <a:gd name="connsiteY8" fmla="*/ 0 h 7495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823919" h="7495660">
                <a:moveTo>
                  <a:pt x="0" y="0"/>
                </a:moveTo>
                <a:lnTo>
                  <a:pt x="6821543" y="1"/>
                </a:lnTo>
                <a:cubicBezTo>
                  <a:pt x="6821543" y="2494492"/>
                  <a:pt x="6823919" y="4996128"/>
                  <a:pt x="6823919" y="7490619"/>
                </a:cubicBezTo>
                <a:lnTo>
                  <a:pt x="6663971" y="7495380"/>
                </a:lnTo>
                <a:cubicBezTo>
                  <a:pt x="6663034" y="7372084"/>
                  <a:pt x="6656555" y="6898718"/>
                  <a:pt x="6655618" y="6775422"/>
                </a:cubicBezTo>
                <a:lnTo>
                  <a:pt x="4757408" y="6776276"/>
                </a:lnTo>
                <a:cubicBezTo>
                  <a:pt x="4755613" y="6918410"/>
                  <a:pt x="4751444" y="7353526"/>
                  <a:pt x="4749649" y="7495660"/>
                </a:cubicBezTo>
                <a:lnTo>
                  <a:pt x="1584" y="7478713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pic>
        <p:nvPicPr>
          <p:cNvPr id="10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6633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12"/>
          </p:nvPr>
        </p:nvSpPr>
        <p:spPr>
          <a:xfrm>
            <a:off x="2811463" y="2462213"/>
            <a:ext cx="4389437" cy="6554787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  <a:lvl4pPr>
              <a:defRPr/>
            </a:lvl4pPr>
            <a:lvl5pPr marL="469900" indent="-171450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0871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7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/>
          <p:cNvSpPr>
            <a:spLocks noGrp="1"/>
          </p:cNvSpPr>
          <p:nvPr>
            <p:ph type="pic" sz="quarter" idx="11"/>
          </p:nvPr>
        </p:nvSpPr>
        <p:spPr>
          <a:xfrm>
            <a:off x="539750" y="6465497"/>
            <a:ext cx="2089149" cy="3306762"/>
          </a:xfrm>
          <a:prstGeom prst="rect">
            <a:avLst/>
          </a:pr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itel 3"/>
          <p:cNvSpPr>
            <a:spLocks noGrp="1"/>
          </p:cNvSpPr>
          <p:nvPr>
            <p:ph type="title" hasCustomPrompt="1"/>
          </p:nvPr>
        </p:nvSpPr>
        <p:spPr>
          <a:xfrm>
            <a:off x="1674812" y="1182688"/>
            <a:ext cx="5521325" cy="900112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e-DE" dirty="0"/>
              <a:t>Titel einfügen (maximal 3-zeilig!)</a:t>
            </a:r>
            <a:endParaRPr lang="de-AT" dirty="0"/>
          </a:p>
        </p:txBody>
      </p:sp>
      <p:sp>
        <p:nvSpPr>
          <p:cNvPr id="15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541655" y="2462213"/>
            <a:ext cx="2089150" cy="31178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lnSpc>
                <a:spcPts val="1134"/>
              </a:lnSpc>
              <a:spcBef>
                <a:spcPts val="0"/>
              </a:spcBef>
              <a:spcAft>
                <a:spcPts val="0"/>
              </a:spcAft>
              <a:defRPr sz="850" cap="all" baseline="0"/>
            </a:lvl2pPr>
            <a:lvl3pPr marL="0" indent="0">
              <a:lnSpc>
                <a:spcPts val="1134"/>
              </a:lnSpc>
              <a:spcBef>
                <a:spcPts val="0"/>
              </a:spcBef>
              <a:buFontTx/>
              <a:buNone/>
              <a:defRPr lang="de-DE" sz="8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" indent="-171450">
              <a:lnSpc>
                <a:spcPts val="1134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Char char="●"/>
              <a:defRPr sz="850"/>
            </a:lvl4pPr>
            <a:lvl5pPr marL="282575" indent="-130175">
              <a:lnSpc>
                <a:spcPts val="1134"/>
              </a:lnSpc>
              <a:spcBef>
                <a:spcPts val="0"/>
              </a:spcBef>
              <a:defRPr sz="85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pic>
        <p:nvPicPr>
          <p:cNvPr id="11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7743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12"/>
          </p:nvPr>
        </p:nvSpPr>
        <p:spPr>
          <a:xfrm>
            <a:off x="2811463" y="2465388"/>
            <a:ext cx="4389437" cy="6551612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3577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3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itel 3"/>
          <p:cNvSpPr>
            <a:spLocks noGrp="1"/>
          </p:cNvSpPr>
          <p:nvPr>
            <p:ph type="title" hasCustomPrompt="1"/>
          </p:nvPr>
        </p:nvSpPr>
        <p:spPr>
          <a:xfrm>
            <a:off x="1674812" y="1182688"/>
            <a:ext cx="5521325" cy="900112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e-DE" dirty="0"/>
              <a:t>Titel einfügen (maximal 3-zeilig!)</a:t>
            </a:r>
            <a:endParaRPr lang="de-AT" dirty="0"/>
          </a:p>
        </p:txBody>
      </p:sp>
      <p:sp>
        <p:nvSpPr>
          <p:cNvPr id="15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541655" y="2465388"/>
            <a:ext cx="2089150" cy="2878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lnSpc>
                <a:spcPts val="1134"/>
              </a:lnSpc>
              <a:spcBef>
                <a:spcPts val="0"/>
              </a:spcBef>
              <a:spcAft>
                <a:spcPts val="0"/>
              </a:spcAft>
              <a:defRPr sz="850" cap="all" baseline="0"/>
            </a:lvl2pPr>
            <a:lvl3pPr marL="0" indent="0">
              <a:lnSpc>
                <a:spcPts val="1134"/>
              </a:lnSpc>
              <a:spcBef>
                <a:spcPts val="0"/>
              </a:spcBef>
              <a:buFontTx/>
              <a:buNone/>
              <a:defRPr lang="de-DE" sz="8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" indent="-171450">
              <a:lnSpc>
                <a:spcPts val="1134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Char char="●"/>
              <a:defRPr sz="850"/>
            </a:lvl4pPr>
            <a:lvl5pPr marL="282575" indent="-130175">
              <a:lnSpc>
                <a:spcPts val="1134"/>
              </a:lnSpc>
              <a:spcBef>
                <a:spcPts val="0"/>
              </a:spcBef>
              <a:defRPr sz="85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0" name="Bildplatzhalter 13"/>
          <p:cNvSpPr>
            <a:spLocks noGrp="1"/>
          </p:cNvSpPr>
          <p:nvPr>
            <p:ph type="pic" sz="quarter" idx="11"/>
          </p:nvPr>
        </p:nvSpPr>
        <p:spPr>
          <a:xfrm>
            <a:off x="539750" y="8150573"/>
            <a:ext cx="2089149" cy="1625600"/>
          </a:xfrm>
          <a:prstGeom prst="rect">
            <a:avLst/>
          </a:pr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/>
          </a:p>
        </p:txBody>
      </p:sp>
      <p:pic>
        <p:nvPicPr>
          <p:cNvPr id="14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1598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12"/>
          </p:nvPr>
        </p:nvSpPr>
        <p:spPr>
          <a:xfrm>
            <a:off x="2811463" y="2462213"/>
            <a:ext cx="4389437" cy="6554787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21848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6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itel 3"/>
          <p:cNvSpPr>
            <a:spLocks noGrp="1"/>
          </p:cNvSpPr>
          <p:nvPr>
            <p:ph type="title" hasCustomPrompt="1"/>
          </p:nvPr>
        </p:nvSpPr>
        <p:spPr>
          <a:xfrm>
            <a:off x="1674812" y="1182688"/>
            <a:ext cx="5521325" cy="900112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e-DE" dirty="0"/>
              <a:t>Titel einfügen (maximal 3-zeilig!)</a:t>
            </a:r>
            <a:endParaRPr lang="de-AT" dirty="0"/>
          </a:p>
        </p:txBody>
      </p:sp>
      <p:sp>
        <p:nvSpPr>
          <p:cNvPr id="15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541655" y="2462213"/>
            <a:ext cx="2089150" cy="31178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lnSpc>
                <a:spcPts val="1134"/>
              </a:lnSpc>
              <a:spcBef>
                <a:spcPts val="0"/>
              </a:spcBef>
              <a:spcAft>
                <a:spcPts val="0"/>
              </a:spcAft>
              <a:defRPr sz="850" cap="all" baseline="0"/>
            </a:lvl2pPr>
            <a:lvl3pPr marL="0" indent="0">
              <a:lnSpc>
                <a:spcPts val="1134"/>
              </a:lnSpc>
              <a:spcBef>
                <a:spcPts val="0"/>
              </a:spcBef>
              <a:buFontTx/>
              <a:buNone/>
              <a:defRPr lang="de-DE" sz="8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" indent="-171450">
              <a:lnSpc>
                <a:spcPts val="1134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Char char="●"/>
              <a:defRPr sz="850"/>
            </a:lvl4pPr>
            <a:lvl5pPr marL="282575" indent="-130175">
              <a:lnSpc>
                <a:spcPts val="1134"/>
              </a:lnSpc>
              <a:spcBef>
                <a:spcPts val="0"/>
              </a:spcBef>
              <a:defRPr sz="85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pic>
        <p:nvPicPr>
          <p:cNvPr id="11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492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1952251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" name="think-cell Folie" r:id="rId18" imgW="302" imgH="333" progId="TCLayout.ActiveDocument.1">
                  <p:embed/>
                </p:oleObj>
              </mc:Choice>
              <mc:Fallback>
                <p:oleObj name="think-cell Folie" r:id="rId18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1674812" y="1182688"/>
            <a:ext cx="5521325" cy="9001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  <a:endParaRPr lang="de-AT" dirty="0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2811463" y="2465387"/>
            <a:ext cx="4389437" cy="30965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6" name="Textfeld 5"/>
          <p:cNvSpPr txBox="1"/>
          <p:nvPr/>
        </p:nvSpPr>
        <p:spPr>
          <a:xfrm>
            <a:off x="540000" y="10221088"/>
            <a:ext cx="6660900" cy="1530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lvl="1" indent="0" algn="l">
              <a:lnSpc>
                <a:spcPts val="1000"/>
              </a:lnSpc>
              <a:spcBef>
                <a:spcPts val="0"/>
              </a:spcBef>
            </a:pPr>
            <a:r>
              <a:rPr lang="de-AT" sz="750" b="1" i="0" u="none" strike="noStrike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RABAG Umwelttechnik GmbH, </a:t>
            </a:r>
            <a:r>
              <a:rPr lang="de-AT" sz="750" b="0" i="0" u="none" strike="noStrike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de-AT" sz="750" b="0" i="0" u="none" strike="noStrike" kern="1200" baseline="0" dirty="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gelsanger</a:t>
            </a:r>
            <a:r>
              <a:rPr lang="de-AT" sz="750" b="0" i="0" u="none" strike="noStrike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Weg 111, 40470 Düsseldorf, www.strabag-umwelttechnik.com</a:t>
            </a:r>
            <a:endParaRPr lang="de-AT" sz="7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6907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70" r:id="rId1"/>
    <p:sldLayoutId id="2147484778" r:id="rId2"/>
    <p:sldLayoutId id="2147484777" r:id="rId3"/>
    <p:sldLayoutId id="2147484776" r:id="rId4"/>
    <p:sldLayoutId id="2147484779" r:id="rId5"/>
    <p:sldLayoutId id="2147484768" r:id="rId6"/>
    <p:sldLayoutId id="2147484766" r:id="rId7"/>
    <p:sldLayoutId id="2147484773" r:id="rId8"/>
    <p:sldLayoutId id="2147484774" r:id="rId9"/>
    <p:sldLayoutId id="2147484771" r:id="rId10"/>
    <p:sldLayoutId id="2147484772" r:id="rId11"/>
    <p:sldLayoutId id="2147484775" r:id="rId12"/>
    <p:sldLayoutId id="2147484767" r:id="rId13"/>
    <p:sldLayoutId id="2147484780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755934" rtl="0" eaLnBrk="1" latinLnBrk="0" hangingPunct="1">
        <a:lnSpc>
          <a:spcPts val="2500"/>
        </a:lnSpc>
        <a:spcBef>
          <a:spcPct val="0"/>
        </a:spcBef>
        <a:buNone/>
        <a:defRPr sz="22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755934" rtl="0" eaLnBrk="1" latinLnBrk="0" hangingPunct="1">
        <a:lnSpc>
          <a:spcPts val="1700"/>
        </a:lnSpc>
        <a:spcBef>
          <a:spcPts val="0"/>
        </a:spcBef>
        <a:spcAft>
          <a:spcPts val="600"/>
        </a:spcAft>
        <a:buClr>
          <a:schemeClr val="accent6"/>
        </a:buClr>
        <a:buSzPct val="120000"/>
        <a:buFont typeface="Arial" pitchFamily="34" charset="0"/>
        <a:buNone/>
        <a:tabLst/>
        <a:defRPr sz="1400" b="0" i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755934" rtl="0" eaLnBrk="1" latinLnBrk="0" hangingPunct="1">
        <a:lnSpc>
          <a:spcPts val="1134"/>
        </a:lnSpc>
        <a:spcBef>
          <a:spcPts val="0"/>
        </a:spcBef>
        <a:spcAft>
          <a:spcPts val="0"/>
        </a:spcAft>
        <a:buClr>
          <a:schemeClr val="accent6"/>
        </a:buClr>
        <a:buSzPct val="100000"/>
        <a:buFont typeface="Arial" panose="020B0604020202020204" pitchFamily="34" charset="0"/>
        <a:buNone/>
        <a:defRPr lang="de-DE" sz="85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1450" indent="-171450" algn="l" defTabSz="755934" rtl="0" eaLnBrk="1" latinLnBrk="0" hangingPunct="1">
        <a:lnSpc>
          <a:spcPts val="1134"/>
        </a:lnSpc>
        <a:spcBef>
          <a:spcPts val="0"/>
        </a:spcBef>
        <a:spcAft>
          <a:spcPts val="0"/>
        </a:spcAft>
        <a:buClrTx/>
        <a:buFont typeface="Symbol" panose="05050102010706020507" pitchFamily="18" charset="2"/>
        <a:buChar char="-"/>
        <a:defRPr lang="de-DE" sz="85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298450" indent="-142875" algn="l" defTabSz="755934" rtl="0" eaLnBrk="1" latinLnBrk="0" hangingPunct="1">
        <a:lnSpc>
          <a:spcPts val="1134"/>
        </a:lnSpc>
        <a:spcBef>
          <a:spcPts val="0"/>
        </a:spcBef>
        <a:spcAft>
          <a:spcPts val="0"/>
        </a:spcAft>
        <a:buFont typeface="Symbol" pitchFamily="18" charset="2"/>
        <a:buChar char="-"/>
        <a:defRPr sz="850" kern="1200">
          <a:solidFill>
            <a:schemeClr val="tx1"/>
          </a:solidFill>
          <a:latin typeface="+mn-lt"/>
          <a:ea typeface="+mn-ea"/>
          <a:cs typeface="+mn-cs"/>
        </a:defRPr>
      </a:lvl4pPr>
      <a:lvl5pPr marL="436563" indent="-138113" algn="l" defTabSz="755934" rtl="0" eaLnBrk="1" latinLnBrk="0" hangingPunct="1">
        <a:lnSpc>
          <a:spcPts val="1134"/>
        </a:lnSpc>
        <a:spcBef>
          <a:spcPts val="0"/>
        </a:spcBef>
        <a:spcAft>
          <a:spcPts val="0"/>
        </a:spcAft>
        <a:buFont typeface="Symbol" pitchFamily="18" charset="2"/>
        <a:buChar char="-"/>
        <a:defRPr sz="850" kern="1200">
          <a:solidFill>
            <a:schemeClr val="tx1"/>
          </a:solidFill>
          <a:latin typeface="+mn-lt"/>
          <a:ea typeface="+mn-ea"/>
          <a:cs typeface="+mn-cs"/>
        </a:defRPr>
      </a:lvl5pPr>
      <a:lvl6pPr marL="2078820" indent="-188984" algn="l" defTabSz="755934" rtl="0" eaLnBrk="1" latinLnBrk="0" hangingPunct="1">
        <a:spcBef>
          <a:spcPct val="20000"/>
        </a:spcBef>
        <a:buFont typeface="Arial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6pPr>
      <a:lvl7pPr marL="2456787" indent="-188984" algn="l" defTabSz="755934" rtl="0" eaLnBrk="1" latinLnBrk="0" hangingPunct="1">
        <a:spcBef>
          <a:spcPct val="20000"/>
        </a:spcBef>
        <a:buFont typeface="Arial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7pPr>
      <a:lvl8pPr marL="2834754" indent="-188984" algn="l" defTabSz="755934" rtl="0" eaLnBrk="1" latinLnBrk="0" hangingPunct="1">
        <a:spcBef>
          <a:spcPct val="20000"/>
        </a:spcBef>
        <a:buFont typeface="Arial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8pPr>
      <a:lvl9pPr marL="3212722" indent="-188984" algn="l" defTabSz="755934" rtl="0" eaLnBrk="1" latinLnBrk="0" hangingPunct="1">
        <a:spcBef>
          <a:spcPct val="20000"/>
        </a:spcBef>
        <a:buFont typeface="Arial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7967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5934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3902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1869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89836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7803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5771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3738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435" userDrawn="1">
          <p15:clr>
            <a:srgbClr val="F26B43"/>
          </p15:clr>
        </p15:guide>
        <p15:guide id="2" orient="horz" pos="1277" userDrawn="1">
          <p15:clr>
            <a:srgbClr val="F26B43"/>
          </p15:clr>
        </p15:guide>
        <p15:guide id="3" pos="2381" userDrawn="1">
          <p15:clr>
            <a:srgbClr val="F26B43"/>
          </p15:clr>
        </p15:guide>
        <p15:guide id="0" orient="horz" pos="3368" userDrawn="1">
          <p15:clr>
            <a:srgbClr val="F26B43"/>
          </p15:clr>
        </p15:guide>
        <p15:guide id="5" orient="horz" pos="6149" userDrawn="1">
          <p15:clr>
            <a:srgbClr val="F26B43"/>
          </p15:clr>
        </p15:guide>
        <p15:guide id="6" orient="horz" pos="739" userDrawn="1">
          <p15:clr>
            <a:srgbClr val="F26B43"/>
          </p15:clr>
        </p15:guide>
        <p15:guide id="7" pos="1769" userDrawn="1">
          <p15:clr>
            <a:srgbClr val="F26B43"/>
          </p15:clr>
        </p15:guide>
        <p15:guide id="8" pos="340" userDrawn="1">
          <p15:clr>
            <a:srgbClr val="F26B43"/>
          </p15:clr>
        </p15:guide>
        <p15:guide id="9" pos="4649" userDrawn="1">
          <p15:clr>
            <a:srgbClr val="F26B43"/>
          </p15:clr>
        </p15:guide>
        <p15:guide id="10" orient="horz" pos="4594" userDrawn="1">
          <p15:clr>
            <a:srgbClr val="F26B43"/>
          </p15:clr>
        </p15:guide>
        <p15:guide id="11" orient="horz" pos="4517" userDrawn="1">
          <p15:clr>
            <a:srgbClr val="F26B43"/>
          </p15:clr>
        </p15:guide>
        <p15:guide id="12" orient="horz" pos="3514" userDrawn="1">
          <p15:clr>
            <a:srgbClr val="F26B43"/>
          </p15:clr>
        </p15:guide>
        <p15:guide id="13" pos="3099" userDrawn="1">
          <p15:clr>
            <a:srgbClr val="F26B43"/>
          </p15:clr>
        </p15:guide>
        <p15:guide id="14" pos="3211" userDrawn="1">
          <p15:clr>
            <a:srgbClr val="F26B43"/>
          </p15:clr>
        </p15:guide>
        <p15:guide id="15" orient="horz" pos="5688" userDrawn="1">
          <p15:clr>
            <a:srgbClr val="F26B43"/>
          </p15:clr>
        </p15:guide>
        <p15:guide id="16" orient="horz" pos="5602" userDrawn="1">
          <p15:clr>
            <a:srgbClr val="F26B43"/>
          </p15:clr>
        </p15:guide>
        <p15:guide id="17" pos="4536" userDrawn="1">
          <p15:clr>
            <a:srgbClr val="F26B43"/>
          </p15:clr>
        </p15:guide>
        <p15:guide id="18" pos="3456" userDrawn="1">
          <p15:clr>
            <a:srgbClr val="F26B43"/>
          </p15:clr>
        </p15:guide>
        <p15:guide id="19" pos="946" userDrawn="1">
          <p15:clr>
            <a:srgbClr val="F26B43"/>
          </p15:clr>
        </p15:guide>
        <p15:guide id="20" pos="1058" userDrawn="1">
          <p15:clr>
            <a:srgbClr val="F26B43"/>
          </p15:clr>
        </p15:guide>
        <p15:guide id="21" pos="1656" userDrawn="1">
          <p15:clr>
            <a:srgbClr val="F26B43"/>
          </p15:clr>
        </p15:guide>
        <p15:guide id="22" orient="horz" pos="6508" userDrawn="1">
          <p15:clr>
            <a:srgbClr val="F26B43"/>
          </p15:clr>
        </p15:guide>
        <p15:guide id="23" pos="226" userDrawn="1">
          <p15:clr>
            <a:srgbClr val="F26B43"/>
          </p15:clr>
        </p15:guide>
        <p15:guide id="24" orient="horz" pos="63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2746195" y="2087264"/>
            <a:ext cx="4827335" cy="2881311"/>
          </a:xfrm>
        </p:spPr>
        <p:txBody>
          <a:bodyPr/>
          <a:lstStyle/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AT" sz="800" dirty="0"/>
              <a:t>Sanierung eines LHKW- und BTEX-Schadens mittels Großlochbohrverfahren</a:t>
            </a:r>
          </a:p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AT" sz="800" dirty="0"/>
              <a:t>Betrieb einer Bodenentwässerung für die anschließende Entsorgung</a:t>
            </a:r>
          </a:p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AT" sz="800" dirty="0"/>
              <a:t>Anstehendes Grundwasser bei 2,5 m u. GOK; Bohrtiefe bis 9 m u. GOK</a:t>
            </a:r>
          </a:p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AT" sz="800" dirty="0"/>
              <a:t>Setzen einer Bohrpfahlwand (geschlossener Kreis = 39 Stück) und 87 Austauschbohrungen</a:t>
            </a:r>
          </a:p>
          <a:p>
            <a:pPr>
              <a:lnSpc>
                <a:spcPts val="1134"/>
              </a:lnSpc>
              <a:spcAft>
                <a:spcPts val="0"/>
              </a:spcAft>
            </a:pPr>
            <a:r>
              <a:rPr lang="de-AT" sz="800" dirty="0"/>
              <a:t>      mit DN 1200; Auszutauschendes Bodenvolumen = 1.200 m³</a:t>
            </a:r>
          </a:p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AT" sz="800" dirty="0"/>
              <a:t>Betrieb einer GWRA zur </a:t>
            </a:r>
            <a:r>
              <a:rPr lang="de-AT" sz="800" dirty="0" err="1"/>
              <a:t>Abstromsicherung</a:t>
            </a:r>
            <a:r>
              <a:rPr lang="de-AT" sz="800" dirty="0"/>
              <a:t> und anschließender Nachlaufphase (über 19 Wochen     ca. 7.500 m³ Grundwasser reinigen); Aufbrechen und Beräumen einer Betonfläche</a:t>
            </a:r>
          </a:p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AT" sz="800" dirty="0"/>
              <a:t>Freilegung und </a:t>
            </a:r>
            <a:r>
              <a:rPr lang="de-AT" sz="800" dirty="0" err="1"/>
              <a:t>Umverlegung</a:t>
            </a:r>
            <a:r>
              <a:rPr lang="de-AT" sz="800" dirty="0"/>
              <a:t> von Leitungen (TW, Strom, Abwasser)</a:t>
            </a:r>
          </a:p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AT" sz="800" dirty="0"/>
              <a:t>Herrichten, Einrichten einer externen Fläche zur Entwässerung von gesättigtem und        kontaminiertem Bohrgut</a:t>
            </a:r>
          </a:p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AT" sz="800" dirty="0"/>
              <a:t>Errichten einer GWRA und einer Luftreinigungsanlage</a:t>
            </a:r>
          </a:p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AT" sz="800" dirty="0"/>
              <a:t>Überwachung der Emissionen durch mehrere Luftmessstationen (FÜ Luft) und Eigenüberwachung mittels PID; Ausbohren einer GWMS (12,5 m u. GOK)</a:t>
            </a:r>
          </a:p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AT" sz="800" dirty="0"/>
              <a:t>Setzen einer Bohrpfahlwand (39 Stück á 9 m Tiefe) unter Wasserauflast</a:t>
            </a:r>
          </a:p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AT" sz="800" dirty="0"/>
              <a:t>Durchführung von Austauschbohrungen (87 Stück á 9 m Tiefe) unter Wasserauflast (Grundwasser    ab 2,5 m u. GOK)</a:t>
            </a:r>
          </a:p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AT" sz="800" dirty="0"/>
              <a:t>Rückverfüllung mit Ton (9 m – 8 m unter GOK), Kiessand 2/32 (8 m – 1 m u. GOK) und </a:t>
            </a:r>
          </a:p>
          <a:p>
            <a:pPr>
              <a:lnSpc>
                <a:spcPts val="1134"/>
              </a:lnSpc>
              <a:spcAft>
                <a:spcPts val="0"/>
              </a:spcAft>
            </a:pPr>
            <a:r>
              <a:rPr lang="de-AT" sz="800" dirty="0"/>
              <a:t>      Schotter 0/45 (1m – 0 m u. GOK)</a:t>
            </a:r>
          </a:p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AT" sz="800" dirty="0"/>
              <a:t>Setzen von zwei neuen GWMS (13 m und 9 m u. GOK); Herstellen einer Betonfläche (300 m²)</a:t>
            </a:r>
          </a:p>
          <a:p>
            <a:pPr>
              <a:lnSpc>
                <a:spcPts val="1134"/>
              </a:lnSpc>
              <a:spcAft>
                <a:spcPts val="0"/>
              </a:spcAft>
            </a:pPr>
            <a:r>
              <a:rPr lang="de-AT" sz="800" u="sng" dirty="0"/>
              <a:t>Entsorgung:</a:t>
            </a:r>
          </a:p>
          <a:p>
            <a:pPr>
              <a:lnSpc>
                <a:spcPts val="1134"/>
              </a:lnSpc>
              <a:spcAft>
                <a:spcPts val="0"/>
              </a:spcAft>
            </a:pPr>
            <a:r>
              <a:rPr lang="de-AT" sz="800" dirty="0"/>
              <a:t>Bauschutt max. Z2 = 110 t; Boden und Steine (AVV 17 05 04) max. Z2, DK 0 = 500 t; Boden und       Steine (AVV 17 05 03*) &gt; Z2, DK I = 200 t; Boden und Steine (AVV 17 05 03*) &gt; Z2, DK II = 1.500 t</a:t>
            </a:r>
          </a:p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AT" sz="800" dirty="0"/>
              <a:t>Durchführung der Entsorgungslogistik und des elektronischen Begleitscheinverfahrens</a:t>
            </a:r>
          </a:p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AT" sz="800" dirty="0"/>
              <a:t>Durchführung der Austauscharbeiten unter erhöhtem Arbeitsschutz</a:t>
            </a:r>
          </a:p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AT" sz="800" dirty="0"/>
          </a:p>
          <a:p>
            <a:pPr>
              <a:lnSpc>
                <a:spcPts val="1134"/>
              </a:lnSpc>
              <a:spcAft>
                <a:spcPts val="0"/>
              </a:spcAft>
            </a:pPr>
            <a:endParaRPr lang="de-AT" sz="800" dirty="0"/>
          </a:p>
          <a:p>
            <a:pPr>
              <a:lnSpc>
                <a:spcPts val="1134"/>
              </a:lnSpc>
              <a:spcAft>
                <a:spcPts val="0"/>
              </a:spcAft>
            </a:pPr>
            <a:endParaRPr lang="de-AT" sz="800" dirty="0"/>
          </a:p>
          <a:p>
            <a:pPr>
              <a:lnSpc>
                <a:spcPts val="1134"/>
              </a:lnSpc>
              <a:spcAft>
                <a:spcPts val="0"/>
              </a:spcAft>
            </a:pPr>
            <a:endParaRPr lang="de-AT" sz="8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lvl="0"/>
            <a:r>
              <a:rPr lang="de-AT" dirty="0"/>
              <a:t>Fakten</a:t>
            </a:r>
          </a:p>
          <a:p>
            <a:pPr lvl="1"/>
            <a:r>
              <a:rPr lang="de-AT" dirty="0"/>
              <a:t>Stadt:</a:t>
            </a:r>
          </a:p>
          <a:p>
            <a:pPr lvl="2"/>
            <a:r>
              <a:rPr lang="de-AT" dirty="0"/>
              <a:t>Bitterfeld</a:t>
            </a:r>
          </a:p>
          <a:p>
            <a:pPr lvl="2"/>
            <a:endParaRPr lang="de-AT" dirty="0"/>
          </a:p>
          <a:p>
            <a:pPr lvl="1"/>
            <a:r>
              <a:rPr lang="de-AT" dirty="0" err="1"/>
              <a:t>AuftraGgeber</a:t>
            </a:r>
            <a:r>
              <a:rPr lang="de-AT" dirty="0"/>
              <a:t>:</a:t>
            </a:r>
          </a:p>
          <a:p>
            <a:pPr lvl="2"/>
            <a:r>
              <a:rPr lang="de-AT" dirty="0"/>
              <a:t>Landesanstalt für Altlastenfreistellung des Landes Sachsen-Anhalt, Magdeburg</a:t>
            </a:r>
          </a:p>
          <a:p>
            <a:pPr lvl="2"/>
            <a:endParaRPr lang="de-AT" dirty="0"/>
          </a:p>
          <a:p>
            <a:pPr lvl="1"/>
            <a:r>
              <a:rPr lang="de-AT" dirty="0"/>
              <a:t>Auftragnehmer:</a:t>
            </a:r>
          </a:p>
          <a:p>
            <a:pPr lvl="2"/>
            <a:r>
              <a:rPr lang="de-AT" dirty="0"/>
              <a:t>STRABAG Umwelttechnik GmbH  </a:t>
            </a:r>
          </a:p>
          <a:p>
            <a:pPr lvl="2"/>
            <a:endParaRPr lang="de-AT" dirty="0"/>
          </a:p>
          <a:p>
            <a:pPr lvl="1"/>
            <a:r>
              <a:rPr lang="de-AT" dirty="0"/>
              <a:t>INGENIEURBÜRO/PLANER:</a:t>
            </a:r>
          </a:p>
          <a:p>
            <a:pPr lvl="2"/>
            <a:r>
              <a:rPr lang="de-AT" dirty="0"/>
              <a:t>Mull und Partner Ingenieurgesellschaft mbH, Leipzig </a:t>
            </a:r>
          </a:p>
          <a:p>
            <a:pPr lvl="2"/>
            <a:endParaRPr lang="de-AT" dirty="0"/>
          </a:p>
          <a:p>
            <a:pPr lvl="1"/>
            <a:r>
              <a:rPr lang="de-AT" dirty="0"/>
              <a:t>Auftragssumme:</a:t>
            </a:r>
          </a:p>
          <a:p>
            <a:pPr lvl="2"/>
            <a:r>
              <a:rPr lang="de-AT" dirty="0"/>
              <a:t>EUR 0,6 Mio.</a:t>
            </a:r>
          </a:p>
          <a:p>
            <a:pPr lvl="2"/>
            <a:endParaRPr lang="de-AT" dirty="0"/>
          </a:p>
          <a:p>
            <a:pPr lvl="1"/>
            <a:r>
              <a:rPr lang="de-AT" dirty="0"/>
              <a:t>Bauzeit:</a:t>
            </a:r>
          </a:p>
          <a:p>
            <a:pPr lvl="2"/>
            <a:r>
              <a:rPr lang="de-AT" dirty="0"/>
              <a:t>5/2018 ─ 8/2018</a:t>
            </a:r>
          </a:p>
          <a:p>
            <a:endParaRPr lang="de-AT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674812" y="899828"/>
            <a:ext cx="5521325" cy="900112"/>
          </a:xfrm>
        </p:spPr>
        <p:txBody>
          <a:bodyPr/>
          <a:lstStyle/>
          <a:p>
            <a:r>
              <a:rPr lang="de-AT" dirty="0"/>
              <a:t>Sanierung ehem. chemische Reinigung </a:t>
            </a:r>
            <a:r>
              <a:rPr lang="de-AT" dirty="0" err="1"/>
              <a:t>Reintex</a:t>
            </a:r>
            <a:r>
              <a:rPr lang="de-AT" dirty="0"/>
              <a:t> in Bitterfeld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AT" dirty="0"/>
              <a:t>STRABAG Umwelttechnik GmbH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AT" dirty="0"/>
              <a:t>Altlastensanierung</a:t>
            </a:r>
          </a:p>
        </p:txBody>
      </p:sp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264B4F96-7D03-468B-A813-F7B09E07AEE3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35" r="923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120491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ABAG TEAMS WORK. Vorlagen">
  <a:themeElements>
    <a:clrScheme name="STRABAG">
      <a:dk1>
        <a:srgbClr val="000000"/>
      </a:dk1>
      <a:lt1>
        <a:srgbClr val="FFFFFF"/>
      </a:lt1>
      <a:dk2>
        <a:srgbClr val="005AA0"/>
      </a:dk2>
      <a:lt2>
        <a:srgbClr val="7EABCE"/>
      </a:lt2>
      <a:accent1>
        <a:srgbClr val="35383A"/>
      </a:accent1>
      <a:accent2>
        <a:srgbClr val="4E5355"/>
      </a:accent2>
      <a:accent3>
        <a:srgbClr val="6B6F73"/>
      </a:accent3>
      <a:accent4>
        <a:srgbClr val="A3ACB2"/>
      </a:accent4>
      <a:accent5>
        <a:srgbClr val="B5BFC5"/>
      </a:accent5>
      <a:accent6>
        <a:srgbClr val="D72622"/>
      </a:accent6>
      <a:hlink>
        <a:srgbClr val="005AA0"/>
      </a:hlink>
      <a:folHlink>
        <a:srgbClr val="7EABCE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rtlCol="0" anchor="ctr">
        <a:noAutofit/>
      </a:bodyPr>
      <a:lstStyle>
        <a:defPPr algn="ctr"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TRABAG_Factsheet_STRABAG-Logo_V05.potx" id="{5A73AF32-1803-4ADF-B7CE-C0EF73A45327}" vid="{264A59E5-F6CB-431F-9A9B-991D2456C311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TRABAG_Factsheet_STRABAG-Logo_V05</Template>
  <TotalTime>0</TotalTime>
  <Words>357</Words>
  <Application>Microsoft Office PowerPoint</Application>
  <PresentationFormat>Benutzerdefiniert</PresentationFormat>
  <Paragraphs>42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Symbol</vt:lpstr>
      <vt:lpstr>STRABAG TEAMS WORK. Vorlagen</vt:lpstr>
      <vt:lpstr>think-cell Folie</vt:lpstr>
      <vt:lpstr>Sanierung ehem. chemische Reinigung Reintex in Bitterfeld</vt:lpstr>
    </vt:vector>
  </TitlesOfParts>
  <Company>BRVZ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riante 1 – Mustertitel der bei Bedarf 3-zeilig, aber auf keinen Fall länger werden darf, da er sonst aus der Textbox fließt</dc:title>
  <dc:creator>Tanja Förster</dc:creator>
  <cp:lastModifiedBy>Christine Schultz-Klein</cp:lastModifiedBy>
  <cp:revision>67</cp:revision>
  <cp:lastPrinted>2018-08-08T08:42:42Z</cp:lastPrinted>
  <dcterms:created xsi:type="dcterms:W3CDTF">2014-09-10T12:59:27Z</dcterms:created>
  <dcterms:modified xsi:type="dcterms:W3CDTF">2019-07-04T08:15:03Z</dcterms:modified>
</cp:coreProperties>
</file>